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334" r:id="rId5"/>
    <p:sldId id="342" r:id="rId6"/>
    <p:sldId id="337" r:id="rId7"/>
    <p:sldId id="358" r:id="rId8"/>
    <p:sldId id="345" r:id="rId9"/>
    <p:sldId id="353" r:id="rId10"/>
    <p:sldId id="354" r:id="rId11"/>
    <p:sldId id="344" r:id="rId12"/>
    <p:sldId id="359" r:id="rId13"/>
    <p:sldId id="355" r:id="rId14"/>
    <p:sldId id="356" r:id="rId15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DF1F4"/>
    <a:srgbClr val="FF7C80"/>
    <a:srgbClr val="3B93B7"/>
    <a:srgbClr val="FF9900"/>
    <a:srgbClr val="00779A"/>
    <a:srgbClr val="1C768F"/>
    <a:srgbClr val="09B2AC"/>
    <a:srgbClr val="014A6B"/>
    <a:srgbClr val="4DC7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6008" autoAdjust="0"/>
  </p:normalViewPr>
  <p:slideViewPr>
    <p:cSldViewPr snapToGrid="0" showGuides="1">
      <p:cViewPr varScale="1">
        <p:scale>
          <a:sx n="159" d="100"/>
          <a:sy n="159" d="100"/>
        </p:scale>
        <p:origin x="536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8670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fetkoeter\Desktop\H2Global%20meets%20Africa\Rechnungen\PtX-Designer\10%20MW_Kenya_Turkana%20south_241105_ErgebnisNH3_island_new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fetkoeter\Desktop\H2Global%20meets%20Africa\Rechnungen\PtX-Designer\100%20MW_Kenya_Turkana%20south_241105_ErgebnisNH3_island_new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fetkoeter\Desktop\H2Global%20meets%20Africa\Rechnungen\PtX-Designer\500%20MW_Kenya_Turkana%20south_241105_ErgebnisNH3_island_new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fetkoeter\Desktop\H2Global%20meets%20Africa\Rechnungen\PtX-Designer\100%20MW_Kenya_Turkana%20south_241105_ErgebnisNH3_island_new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fetkoeter\Desktop\H2Global%20meets%20Africa\Rechnungen\PtX-Designer\100%20MW_Kenya_Turkana%20south_241105_ErgebnisNH3_island_new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fetkoeter\Desktop\H2Global%20meets%20Africa\Rechnungen\PtX-Designer\100%20MW_Kenya_Turkana%20south_241105_ErgebnisNH3_island_new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/>
              <a:t>10</a:t>
            </a:r>
            <a:r>
              <a:rPr lang="en-US" sz="1800" baseline="0"/>
              <a:t> MW electrolysis</a:t>
            </a:r>
            <a:endParaRPr lang="en-US" sz="18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CAPEX!$G$3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CAPEX!$H$1:$N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3:$O$3</c:f>
              <c:numCache>
                <c:formatCode>General</c:formatCode>
                <c:ptCount val="8"/>
                <c:pt idx="0">
                  <c:v>465.32819102189711</c:v>
                </c:pt>
                <c:pt idx="2">
                  <c:v>383.88758553013793</c:v>
                </c:pt>
                <c:pt idx="4">
                  <c:v>0</c:v>
                </c:pt>
                <c:pt idx="6">
                  <c:v>476.99254932474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57-4088-8813-777707915F73}"/>
            </c:ext>
          </c:extLst>
        </c:ser>
        <c:ser>
          <c:idx val="1"/>
          <c:order val="1"/>
          <c:tx>
            <c:strRef>
              <c:f>CAPEX!$G$4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CAPEX!$H$1:$N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4:$O$4</c:f>
              <c:numCache>
                <c:formatCode>General</c:formatCode>
                <c:ptCount val="8"/>
                <c:pt idx="0">
                  <c:v>235.45368672252181</c:v>
                </c:pt>
                <c:pt idx="2">
                  <c:v>139.06187342059121</c:v>
                </c:pt>
                <c:pt idx="4">
                  <c:v>722.57895748784995</c:v>
                </c:pt>
                <c:pt idx="6">
                  <c:v>241.3557924161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57-4088-8813-777707915F73}"/>
            </c:ext>
          </c:extLst>
        </c:ser>
        <c:ser>
          <c:idx val="2"/>
          <c:order val="2"/>
          <c:tx>
            <c:strRef>
              <c:f>CAPEX!$G$5</c:f>
              <c:strCache>
                <c:ptCount val="1"/>
                <c:pt idx="0">
                  <c:v>Grid electri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CAPEX!$H$1:$N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5:$O$5</c:f>
              <c:numCache>
                <c:formatCode>General</c:formatCode>
                <c:ptCount val="8"/>
                <c:pt idx="0">
                  <c:v>0</c:v>
                </c:pt>
                <c:pt idx="2">
                  <c:v>0</c:v>
                </c:pt>
                <c:pt idx="4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57-4088-8813-777707915F73}"/>
            </c:ext>
          </c:extLst>
        </c:ser>
        <c:ser>
          <c:idx val="3"/>
          <c:order val="3"/>
          <c:tx>
            <c:strRef>
              <c:f>CAPEX!$G$6</c:f>
              <c:strCache>
                <c:ptCount val="1"/>
                <c:pt idx="0">
                  <c:v>Power Lin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CAPEX!$H$1:$N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6:$O$6</c:f>
              <c:numCache>
                <c:formatCode>General</c:formatCode>
                <c:ptCount val="8"/>
                <c:pt idx="0">
                  <c:v>179.61026343135569</c:v>
                </c:pt>
                <c:pt idx="2">
                  <c:v>57.327802944336213</c:v>
                </c:pt>
                <c:pt idx="4">
                  <c:v>280.67680214477832</c:v>
                </c:pt>
                <c:pt idx="6">
                  <c:v>59.9170622210127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E57-4088-8813-777707915F73}"/>
            </c:ext>
          </c:extLst>
        </c:ser>
        <c:ser>
          <c:idx val="4"/>
          <c:order val="4"/>
          <c:tx>
            <c:strRef>
              <c:f>CAPEX!$G$7</c:f>
              <c:strCache>
                <c:ptCount val="1"/>
                <c:pt idx="0">
                  <c:v>Electrical infrastructur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CAPEX!$H$1:$N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7:$O$7</c:f>
              <c:numCache>
                <c:formatCode>General</c:formatCode>
                <c:ptCount val="8"/>
                <c:pt idx="0">
                  <c:v>177.6457020097657</c:v>
                </c:pt>
                <c:pt idx="2">
                  <c:v>156.04137664688309</c:v>
                </c:pt>
                <c:pt idx="4">
                  <c:v>326.02224318984941</c:v>
                </c:pt>
                <c:pt idx="6">
                  <c:v>182.098737865280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57-4088-8813-777707915F73}"/>
            </c:ext>
          </c:extLst>
        </c:ser>
        <c:ser>
          <c:idx val="5"/>
          <c:order val="5"/>
          <c:tx>
            <c:strRef>
              <c:f>CAPEX!$G$8</c:f>
              <c:strCache>
                <c:ptCount val="1"/>
                <c:pt idx="0">
                  <c:v>Battery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CAPEX!$H$1:$N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8:$O$8</c:f>
              <c:numCache>
                <c:formatCode>General</c:formatCode>
                <c:ptCount val="8"/>
                <c:pt idx="0">
                  <c:v>11.098622823945069</c:v>
                </c:pt>
                <c:pt idx="2">
                  <c:v>0</c:v>
                </c:pt>
                <c:pt idx="4">
                  <c:v>124.8878928653301</c:v>
                </c:pt>
                <c:pt idx="6">
                  <c:v>11.37683144268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E57-4088-8813-777707915F73}"/>
            </c:ext>
          </c:extLst>
        </c:ser>
        <c:ser>
          <c:idx val="6"/>
          <c:order val="6"/>
          <c:tx>
            <c:strRef>
              <c:f>CAPEX!$G$9</c:f>
              <c:strCache>
                <c:ptCount val="1"/>
                <c:pt idx="0">
                  <c:v>Electrolysis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H$1:$N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9:$O$9</c:f>
              <c:numCache>
                <c:formatCode>General</c:formatCode>
                <c:ptCount val="8"/>
                <c:pt idx="0">
                  <c:v>491.28715145202102</c:v>
                </c:pt>
                <c:pt idx="2">
                  <c:v>460.78310569724567</c:v>
                </c:pt>
                <c:pt idx="4">
                  <c:v>770.66829256561039</c:v>
                </c:pt>
                <c:pt idx="6">
                  <c:v>504.745357355883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E57-4088-8813-777707915F73}"/>
            </c:ext>
          </c:extLst>
        </c:ser>
        <c:ser>
          <c:idx val="7"/>
          <c:order val="7"/>
          <c:tx>
            <c:strRef>
              <c:f>CAPEX!$G$10</c:f>
              <c:strCache>
                <c:ptCount val="1"/>
                <c:pt idx="0">
                  <c:v>Water treatment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H$1:$N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10:$O$10</c:f>
              <c:numCache>
                <c:formatCode>General</c:formatCode>
                <c:ptCount val="8"/>
                <c:pt idx="0">
                  <c:v>10.142201551190009</c:v>
                </c:pt>
                <c:pt idx="2">
                  <c:v>9.4130304334409622</c:v>
                </c:pt>
                <c:pt idx="4">
                  <c:v>19.02095123025617</c:v>
                </c:pt>
                <c:pt idx="6">
                  <c:v>10.396435606111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E57-4088-8813-777707915F73}"/>
            </c:ext>
          </c:extLst>
        </c:ser>
        <c:ser>
          <c:idx val="8"/>
          <c:order val="8"/>
          <c:tx>
            <c:strRef>
              <c:f>CAPEX!$G$11</c:f>
              <c:strCache>
                <c:ptCount val="1"/>
                <c:pt idx="0">
                  <c:v>H2 Storage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H$1:$N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11:$O$11</c:f>
              <c:numCache>
                <c:formatCode>General</c:formatCode>
                <c:ptCount val="8"/>
                <c:pt idx="0">
                  <c:v>53.554568228980877</c:v>
                </c:pt>
                <c:pt idx="2">
                  <c:v>49.704275550512868</c:v>
                </c:pt>
                <c:pt idx="4">
                  <c:v>100.43764416428399</c:v>
                </c:pt>
                <c:pt idx="6">
                  <c:v>54.8970178905952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E57-4088-8813-777707915F73}"/>
            </c:ext>
          </c:extLst>
        </c:ser>
        <c:ser>
          <c:idx val="9"/>
          <c:order val="9"/>
          <c:tx>
            <c:strRef>
              <c:f>CAPEX!$G$12</c:f>
              <c:strCache>
                <c:ptCount val="1"/>
                <c:pt idx="0">
                  <c:v>Ammonia synthesis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H$1:$N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12:$O$12</c:f>
              <c:numCache>
                <c:formatCode>General</c:formatCode>
                <c:ptCount val="8"/>
                <c:pt idx="0">
                  <c:v>253.73202313843299</c:v>
                </c:pt>
                <c:pt idx="2">
                  <c:v>247.8842325760161</c:v>
                </c:pt>
                <c:pt idx="4">
                  <c:v>275.49540634703612</c:v>
                </c:pt>
                <c:pt idx="6">
                  <c:v>246.403241971071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E57-4088-8813-777707915F73}"/>
            </c:ext>
          </c:extLst>
        </c:ser>
        <c:ser>
          <c:idx val="10"/>
          <c:order val="10"/>
          <c:tx>
            <c:strRef>
              <c:f>CAPEX!$G$13</c:f>
              <c:strCache>
                <c:ptCount val="1"/>
                <c:pt idx="0">
                  <c:v>Air separation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H$1:$N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13:$O$13</c:f>
              <c:numCache>
                <c:formatCode>General</c:formatCode>
                <c:ptCount val="8"/>
                <c:pt idx="0">
                  <c:v>33.267763088193703</c:v>
                </c:pt>
                <c:pt idx="2">
                  <c:v>32.501037199149259</c:v>
                </c:pt>
                <c:pt idx="4">
                  <c:v>36.121242391381067</c:v>
                </c:pt>
                <c:pt idx="6">
                  <c:v>32.306858931969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E57-4088-8813-777707915F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96780927"/>
        <c:axId val="1596770367"/>
      </c:barChart>
      <c:barChart>
        <c:barDir val="col"/>
        <c:grouping val="stacked"/>
        <c:varyColors val="0"/>
        <c:ser>
          <c:idx val="11"/>
          <c:order val="11"/>
          <c:tx>
            <c:strRef>
              <c:f>CAPEX!$G$14</c:f>
              <c:strCache>
                <c:ptCount val="1"/>
                <c:pt idx="0">
                  <c:v>Production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CAPEX!$H$14:$O$14</c:f>
              <c:numCache>
                <c:formatCode>General</c:formatCode>
                <c:ptCount val="8"/>
                <c:pt idx="1">
                  <c:v>6495</c:v>
                </c:pt>
                <c:pt idx="3">
                  <c:v>6998</c:v>
                </c:pt>
                <c:pt idx="5">
                  <c:v>3463</c:v>
                </c:pt>
                <c:pt idx="7">
                  <c:v>6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E57-4088-8813-777707915F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39949936"/>
        <c:axId val="1639952816"/>
      </c:barChart>
      <c:catAx>
        <c:axId val="15967809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596770367"/>
        <c:crosses val="autoZero"/>
        <c:auto val="1"/>
        <c:lblAlgn val="ctr"/>
        <c:lblOffset val="100"/>
        <c:noMultiLvlLbl val="0"/>
      </c:catAx>
      <c:valAx>
        <c:axId val="1596770367"/>
        <c:scaling>
          <c:orientation val="minMax"/>
          <c:max val="275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LCOA [€/t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596780927"/>
        <c:crosses val="autoZero"/>
        <c:crossBetween val="between"/>
      </c:valAx>
      <c:valAx>
        <c:axId val="1639952816"/>
        <c:scaling>
          <c:orientation val="minMax"/>
          <c:max val="3000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Annual production [tNH3/year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639949936"/>
        <c:crosses val="max"/>
        <c:crossBetween val="between"/>
      </c:valAx>
      <c:catAx>
        <c:axId val="1639949936"/>
        <c:scaling>
          <c:orientation val="minMax"/>
        </c:scaling>
        <c:delete val="1"/>
        <c:axPos val="b"/>
        <c:majorTickMark val="out"/>
        <c:minorTickMark val="none"/>
        <c:tickLblPos val="nextTo"/>
        <c:crossAx val="163995281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legendEntry>
        <c:idx val="8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/>
              <a:t>100 MW electrolysi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CAPEX!$G$3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3:$O$3</c:f>
              <c:numCache>
                <c:formatCode>General</c:formatCode>
                <c:ptCount val="8"/>
                <c:pt idx="0">
                  <c:v>437.44913821192131</c:v>
                </c:pt>
                <c:pt idx="2">
                  <c:v>395.28890116227501</c:v>
                </c:pt>
                <c:pt idx="4">
                  <c:v>0</c:v>
                </c:pt>
                <c:pt idx="6">
                  <c:v>468.69466848089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9A-4459-85CD-478BA5627A25}"/>
            </c:ext>
          </c:extLst>
        </c:ser>
        <c:ser>
          <c:idx val="1"/>
          <c:order val="1"/>
          <c:tx>
            <c:strRef>
              <c:f>CAPEX!$G$4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4:$O$4</c:f>
              <c:numCache>
                <c:formatCode>General</c:formatCode>
                <c:ptCount val="8"/>
                <c:pt idx="0">
                  <c:v>226.37764275246269</c:v>
                </c:pt>
                <c:pt idx="2">
                  <c:v>92.496668713632729</c:v>
                </c:pt>
                <c:pt idx="4">
                  <c:v>660.79722737310919</c:v>
                </c:pt>
                <c:pt idx="6">
                  <c:v>209.560643740111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9A-4459-85CD-478BA5627A25}"/>
            </c:ext>
          </c:extLst>
        </c:ser>
        <c:ser>
          <c:idx val="2"/>
          <c:order val="2"/>
          <c:tx>
            <c:strRef>
              <c:f>CAPEX!$G$5</c:f>
              <c:strCache>
                <c:ptCount val="1"/>
                <c:pt idx="0">
                  <c:v>Grid electri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5:$O$5</c:f>
              <c:numCache>
                <c:formatCode>General</c:formatCode>
                <c:ptCount val="8"/>
                <c:pt idx="0">
                  <c:v>0</c:v>
                </c:pt>
                <c:pt idx="2">
                  <c:v>0</c:v>
                </c:pt>
                <c:pt idx="4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29A-4459-85CD-478BA5627A25}"/>
            </c:ext>
          </c:extLst>
        </c:ser>
        <c:ser>
          <c:idx val="3"/>
          <c:order val="3"/>
          <c:tx>
            <c:strRef>
              <c:f>CAPEX!$G$6</c:f>
              <c:strCache>
                <c:ptCount val="1"/>
                <c:pt idx="0">
                  <c:v>Power Lin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6:$O$6</c:f>
              <c:numCache>
                <c:formatCode>General</c:formatCode>
                <c:ptCount val="8"/>
                <c:pt idx="0">
                  <c:v>99.969958057993779</c:v>
                </c:pt>
                <c:pt idx="2">
                  <c:v>40.192871596060037</c:v>
                </c:pt>
                <c:pt idx="4">
                  <c:v>150.8526866979241</c:v>
                </c:pt>
                <c:pt idx="6">
                  <c:v>40.8393523636954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29A-4459-85CD-478BA5627A25}"/>
            </c:ext>
          </c:extLst>
        </c:ser>
        <c:ser>
          <c:idx val="4"/>
          <c:order val="4"/>
          <c:tx>
            <c:strRef>
              <c:f>CAPEX!$G$7</c:f>
              <c:strCache>
                <c:ptCount val="1"/>
                <c:pt idx="0">
                  <c:v>Electrical infrastructur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7:$O$7</c:f>
              <c:numCache>
                <c:formatCode>General</c:formatCode>
                <c:ptCount val="8"/>
                <c:pt idx="0">
                  <c:v>50.995398395118727</c:v>
                </c:pt>
                <c:pt idx="2">
                  <c:v>36.695756995359012</c:v>
                </c:pt>
                <c:pt idx="4">
                  <c:v>86.860917249710397</c:v>
                </c:pt>
                <c:pt idx="6">
                  <c:v>51.07199202747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29A-4459-85CD-478BA5627A25}"/>
            </c:ext>
          </c:extLst>
        </c:ser>
        <c:ser>
          <c:idx val="5"/>
          <c:order val="5"/>
          <c:tx>
            <c:strRef>
              <c:f>CAPEX!$G$8</c:f>
              <c:strCache>
                <c:ptCount val="1"/>
                <c:pt idx="0">
                  <c:v>Battery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8:$O$8</c:f>
              <c:numCache>
                <c:formatCode>General</c:formatCode>
                <c:ptCount val="8"/>
                <c:pt idx="0">
                  <c:v>11.737884075727839</c:v>
                </c:pt>
                <c:pt idx="2">
                  <c:v>0</c:v>
                </c:pt>
                <c:pt idx="4">
                  <c:v>111.7269445757976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29A-4459-85CD-478BA5627A25}"/>
            </c:ext>
          </c:extLst>
        </c:ser>
        <c:ser>
          <c:idx val="6"/>
          <c:order val="6"/>
          <c:tx>
            <c:strRef>
              <c:f>CAPEX!$G$9</c:f>
              <c:strCache>
                <c:ptCount val="1"/>
                <c:pt idx="0">
                  <c:v>Electrolysis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9:$O$9</c:f>
              <c:numCache>
                <c:formatCode>General</c:formatCode>
                <c:ptCount val="8"/>
                <c:pt idx="0">
                  <c:v>362.44035861605738</c:v>
                </c:pt>
                <c:pt idx="2">
                  <c:v>345.11388980610212</c:v>
                </c:pt>
                <c:pt idx="4">
                  <c:v>562.11490892574113</c:v>
                </c:pt>
                <c:pt idx="6">
                  <c:v>376.202994753762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29A-4459-85CD-478BA5627A25}"/>
            </c:ext>
          </c:extLst>
        </c:ser>
        <c:ser>
          <c:idx val="7"/>
          <c:order val="7"/>
          <c:tx>
            <c:strRef>
              <c:f>CAPEX!$G$10</c:f>
              <c:strCache>
                <c:ptCount val="1"/>
                <c:pt idx="0">
                  <c:v>Water treatment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10:$O$10</c:f>
              <c:numCache>
                <c:formatCode>General</c:formatCode>
                <c:ptCount val="8"/>
                <c:pt idx="0">
                  <c:v>10.726374611424021</c:v>
                </c:pt>
                <c:pt idx="2">
                  <c:v>10.114010990334069</c:v>
                </c:pt>
                <c:pt idx="4">
                  <c:v>20.419780157617581</c:v>
                </c:pt>
                <c:pt idx="6">
                  <c:v>11.032822760905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29A-4459-85CD-478BA5627A25}"/>
            </c:ext>
          </c:extLst>
        </c:ser>
        <c:ser>
          <c:idx val="8"/>
          <c:order val="8"/>
          <c:tx>
            <c:strRef>
              <c:f>CAPEX!$G$11</c:f>
              <c:strCache>
                <c:ptCount val="1"/>
                <c:pt idx="0">
                  <c:v>H2 Storage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11:$O$11</c:f>
              <c:numCache>
                <c:formatCode>General</c:formatCode>
                <c:ptCount val="8"/>
                <c:pt idx="0">
                  <c:v>38.310871668843681</c:v>
                </c:pt>
                <c:pt idx="2">
                  <c:v>21.658698586494431</c:v>
                </c:pt>
                <c:pt idx="4">
                  <c:v>72.932337855449077</c:v>
                </c:pt>
                <c:pt idx="6">
                  <c:v>39.4053976529954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29A-4459-85CD-478BA5627A25}"/>
            </c:ext>
          </c:extLst>
        </c:ser>
        <c:ser>
          <c:idx val="9"/>
          <c:order val="9"/>
          <c:tx>
            <c:strRef>
              <c:f>CAPEX!$G$12</c:f>
              <c:strCache>
                <c:ptCount val="1"/>
                <c:pt idx="0">
                  <c:v>Ammonia synthesis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12:$O$12</c:f>
              <c:numCache>
                <c:formatCode>General</c:formatCode>
                <c:ptCount val="8"/>
                <c:pt idx="0">
                  <c:v>118.3627039469615</c:v>
                </c:pt>
                <c:pt idx="2">
                  <c:v>124.00603724023119</c:v>
                </c:pt>
                <c:pt idx="4">
                  <c:v>125.1815931920014</c:v>
                </c:pt>
                <c:pt idx="6">
                  <c:v>121.74427814198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29A-4459-85CD-478BA5627A25}"/>
            </c:ext>
          </c:extLst>
        </c:ser>
        <c:ser>
          <c:idx val="10"/>
          <c:order val="10"/>
          <c:tx>
            <c:strRef>
              <c:f>CAPEX!$G$13</c:f>
              <c:strCache>
                <c:ptCount val="1"/>
                <c:pt idx="0">
                  <c:v>Air separation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13:$O$13</c:f>
              <c:numCache>
                <c:formatCode>General</c:formatCode>
                <c:ptCount val="8"/>
                <c:pt idx="0">
                  <c:v>33.332142337227879</c:v>
                </c:pt>
                <c:pt idx="2">
                  <c:v>34.921362440479108</c:v>
                </c:pt>
                <c:pt idx="4">
                  <c:v>35.252410963393359</c:v>
                </c:pt>
                <c:pt idx="6">
                  <c:v>34.284428054214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29A-4459-85CD-478BA5627A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39913936"/>
        <c:axId val="1639919216"/>
      </c:barChart>
      <c:barChart>
        <c:barDir val="col"/>
        <c:grouping val="stacked"/>
        <c:varyColors val="0"/>
        <c:ser>
          <c:idx val="11"/>
          <c:order val="11"/>
          <c:tx>
            <c:strRef>
              <c:f>CAPEX!$G$14</c:f>
              <c:strCache>
                <c:ptCount val="1"/>
                <c:pt idx="0">
                  <c:v>Production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CAPEX!$H$14:$O$14</c:f>
              <c:numCache>
                <c:formatCode>General</c:formatCode>
                <c:ptCount val="8"/>
                <c:pt idx="1">
                  <c:v>61414</c:v>
                </c:pt>
                <c:pt idx="3">
                  <c:v>65133</c:v>
                </c:pt>
                <c:pt idx="5">
                  <c:v>32260</c:v>
                </c:pt>
                <c:pt idx="7">
                  <c:v>597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29A-4459-85CD-478BA5627A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90779680"/>
        <c:axId val="1590827200"/>
      </c:barChart>
      <c:catAx>
        <c:axId val="1639913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639919216"/>
        <c:crosses val="autoZero"/>
        <c:auto val="1"/>
        <c:lblAlgn val="ctr"/>
        <c:lblOffset val="100"/>
        <c:noMultiLvlLbl val="0"/>
      </c:catAx>
      <c:valAx>
        <c:axId val="1639919216"/>
        <c:scaling>
          <c:orientation val="minMax"/>
          <c:max val="275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LCOA [€/t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639913936"/>
        <c:crosses val="autoZero"/>
        <c:crossBetween val="between"/>
      </c:valAx>
      <c:valAx>
        <c:axId val="1590827200"/>
        <c:scaling>
          <c:orientation val="minMax"/>
          <c:max val="3000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Annual production [tNH3/year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590779680"/>
        <c:crosses val="max"/>
        <c:crossBetween val="between"/>
      </c:valAx>
      <c:catAx>
        <c:axId val="1590779680"/>
        <c:scaling>
          <c:orientation val="minMax"/>
        </c:scaling>
        <c:delete val="1"/>
        <c:axPos val="b"/>
        <c:majorTickMark val="out"/>
        <c:minorTickMark val="none"/>
        <c:tickLblPos val="nextTo"/>
        <c:crossAx val="159082720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legendEntry>
        <c:idx val="8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/>
              <a:t>500 MW electrolysi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CAPEX!$G$3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3:$O$3</c:f>
              <c:numCache>
                <c:formatCode>General</c:formatCode>
                <c:ptCount val="8"/>
                <c:pt idx="0">
                  <c:v>452.99999592830721</c:v>
                </c:pt>
                <c:pt idx="2">
                  <c:v>429.88542124352102</c:v>
                </c:pt>
                <c:pt idx="4">
                  <c:v>0</c:v>
                </c:pt>
                <c:pt idx="6">
                  <c:v>461.08211169409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E1-4652-B1FA-0A57DE09A0B5}"/>
            </c:ext>
          </c:extLst>
        </c:ser>
        <c:ser>
          <c:idx val="1"/>
          <c:order val="1"/>
          <c:tx>
            <c:strRef>
              <c:f>CAPEX!$G$4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4:$O$4</c:f>
              <c:numCache>
                <c:formatCode>General</c:formatCode>
                <c:ptCount val="8"/>
                <c:pt idx="0">
                  <c:v>217.54652096119489</c:v>
                </c:pt>
                <c:pt idx="2">
                  <c:v>29.661794500282529</c:v>
                </c:pt>
                <c:pt idx="4">
                  <c:v>633.02489493124983</c:v>
                </c:pt>
                <c:pt idx="6">
                  <c:v>206.79323861279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E1-4652-B1FA-0A57DE09A0B5}"/>
            </c:ext>
          </c:extLst>
        </c:ser>
        <c:ser>
          <c:idx val="2"/>
          <c:order val="2"/>
          <c:tx>
            <c:strRef>
              <c:f>CAPEX!$G$5</c:f>
              <c:strCache>
                <c:ptCount val="1"/>
                <c:pt idx="0">
                  <c:v>Grid electri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5:$O$5</c:f>
              <c:numCache>
                <c:formatCode>General</c:formatCode>
                <c:ptCount val="8"/>
                <c:pt idx="0">
                  <c:v>0</c:v>
                </c:pt>
                <c:pt idx="2">
                  <c:v>0</c:v>
                </c:pt>
                <c:pt idx="4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E1-4652-B1FA-0A57DE09A0B5}"/>
            </c:ext>
          </c:extLst>
        </c:ser>
        <c:ser>
          <c:idx val="3"/>
          <c:order val="3"/>
          <c:tx>
            <c:strRef>
              <c:f>CAPEX!$G$6</c:f>
              <c:strCache>
                <c:ptCount val="1"/>
                <c:pt idx="0">
                  <c:v>Power Lin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6:$O$6</c:f>
              <c:numCache>
                <c:formatCode>General</c:formatCode>
                <c:ptCount val="8"/>
                <c:pt idx="0">
                  <c:v>99.068333818616949</c:v>
                </c:pt>
                <c:pt idx="2">
                  <c:v>80.648772312855442</c:v>
                </c:pt>
                <c:pt idx="4">
                  <c:v>61.825905306379738</c:v>
                </c:pt>
                <c:pt idx="6">
                  <c:v>28.0221011711058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E1-4652-B1FA-0A57DE09A0B5}"/>
            </c:ext>
          </c:extLst>
        </c:ser>
        <c:ser>
          <c:idx val="4"/>
          <c:order val="4"/>
          <c:tx>
            <c:strRef>
              <c:f>CAPEX!$G$7</c:f>
              <c:strCache>
                <c:ptCount val="1"/>
                <c:pt idx="0">
                  <c:v>Electrical infrastructur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7:$O$7</c:f>
              <c:numCache>
                <c:formatCode>General</c:formatCode>
                <c:ptCount val="8"/>
                <c:pt idx="0">
                  <c:v>50.695902031914841</c:v>
                </c:pt>
                <c:pt idx="2">
                  <c:v>32.969514572978881</c:v>
                </c:pt>
                <c:pt idx="4">
                  <c:v>85.088488501900571</c:v>
                </c:pt>
                <c:pt idx="6">
                  <c:v>50.9214311894672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E1-4652-B1FA-0A57DE09A0B5}"/>
            </c:ext>
          </c:extLst>
        </c:ser>
        <c:ser>
          <c:idx val="5"/>
          <c:order val="5"/>
          <c:tx>
            <c:strRef>
              <c:f>CAPEX!$G$8</c:f>
              <c:strCache>
                <c:ptCount val="1"/>
                <c:pt idx="0">
                  <c:v>Battery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8:$O$8</c:f>
              <c:numCache>
                <c:formatCode>General</c:formatCode>
                <c:ptCount val="8"/>
                <c:pt idx="0">
                  <c:v>0</c:v>
                </c:pt>
                <c:pt idx="2">
                  <c:v>0</c:v>
                </c:pt>
                <c:pt idx="4">
                  <c:v>114.498520785306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6E1-4652-B1FA-0A57DE09A0B5}"/>
            </c:ext>
          </c:extLst>
        </c:ser>
        <c:ser>
          <c:idx val="6"/>
          <c:order val="6"/>
          <c:tx>
            <c:strRef>
              <c:f>CAPEX!$G$9</c:f>
              <c:strCache>
                <c:ptCount val="1"/>
                <c:pt idx="0">
                  <c:v>Electrolysis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9:$O$9</c:f>
              <c:numCache>
                <c:formatCode>General</c:formatCode>
                <c:ptCount val="8"/>
                <c:pt idx="0">
                  <c:v>279.85041391483372</c:v>
                </c:pt>
                <c:pt idx="2">
                  <c:v>277.42655211519821</c:v>
                </c:pt>
                <c:pt idx="4">
                  <c:v>437.16981367422511</c:v>
                </c:pt>
                <c:pt idx="6">
                  <c:v>296.810417823145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6E1-4652-B1FA-0A57DE09A0B5}"/>
            </c:ext>
          </c:extLst>
        </c:ser>
        <c:ser>
          <c:idx val="7"/>
          <c:order val="7"/>
          <c:tx>
            <c:strRef>
              <c:f>CAPEX!$G$10</c:f>
              <c:strCache>
                <c:ptCount val="1"/>
                <c:pt idx="0">
                  <c:v>Water treatment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10:$O$10</c:f>
              <c:numCache>
                <c:formatCode>General</c:formatCode>
                <c:ptCount val="8"/>
                <c:pt idx="0">
                  <c:v>10.663378531628879</c:v>
                </c:pt>
                <c:pt idx="2">
                  <c:v>10.54091016636997</c:v>
                </c:pt>
                <c:pt idx="4">
                  <c:v>20.926327410861852</c:v>
                </c:pt>
                <c:pt idx="6">
                  <c:v>11.305861698283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6E1-4652-B1FA-0A57DE09A0B5}"/>
            </c:ext>
          </c:extLst>
        </c:ser>
        <c:ser>
          <c:idx val="8"/>
          <c:order val="8"/>
          <c:tx>
            <c:strRef>
              <c:f>CAPEX!$G$11</c:f>
              <c:strCache>
                <c:ptCount val="1"/>
                <c:pt idx="0">
                  <c:v>H2 Storage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11:$O$11</c:f>
              <c:numCache>
                <c:formatCode>General</c:formatCode>
                <c:ptCount val="8"/>
                <c:pt idx="0">
                  <c:v>21.18918088954301</c:v>
                </c:pt>
                <c:pt idx="2">
                  <c:v>18.980139390700781</c:v>
                </c:pt>
                <c:pt idx="4">
                  <c:v>41.58266871492377</c:v>
                </c:pt>
                <c:pt idx="6">
                  <c:v>24.506064510540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6E1-4652-B1FA-0A57DE09A0B5}"/>
            </c:ext>
          </c:extLst>
        </c:ser>
        <c:ser>
          <c:idx val="9"/>
          <c:order val="9"/>
          <c:tx>
            <c:strRef>
              <c:f>CAPEX!$G$12</c:f>
              <c:strCache>
                <c:ptCount val="1"/>
                <c:pt idx="0">
                  <c:v>Ammonia synthesis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12:$O$12</c:f>
              <c:numCache>
                <c:formatCode>General</c:formatCode>
                <c:ptCount val="8"/>
                <c:pt idx="0">
                  <c:v>72.791364385822632</c:v>
                </c:pt>
                <c:pt idx="2">
                  <c:v>75.742483402925188</c:v>
                </c:pt>
                <c:pt idx="4">
                  <c:v>82.702213553819846</c:v>
                </c:pt>
                <c:pt idx="6">
                  <c:v>73.1151888850235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6E1-4652-B1FA-0A57DE09A0B5}"/>
            </c:ext>
          </c:extLst>
        </c:ser>
        <c:ser>
          <c:idx val="10"/>
          <c:order val="10"/>
          <c:tx>
            <c:strRef>
              <c:f>CAPEX!$G$13</c:f>
              <c:strCache>
                <c:ptCount val="1"/>
                <c:pt idx="0">
                  <c:v>Air separation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H$1:$O$1</c:f>
              <c:strCache>
                <c:ptCount val="7"/>
                <c:pt idx="0">
                  <c:v>Turkana central</c:v>
                </c:pt>
                <c:pt idx="2">
                  <c:v>Turkana south</c:v>
                </c:pt>
                <c:pt idx="4">
                  <c:v>Kisumu</c:v>
                </c:pt>
                <c:pt idx="6">
                  <c:v>Mombasa</c:v>
                </c:pt>
              </c:strCache>
            </c:strRef>
          </c:cat>
          <c:val>
            <c:numRef>
              <c:f>CAPEX!$H$13:$O$13</c:f>
              <c:numCache>
                <c:formatCode>General</c:formatCode>
                <c:ptCount val="8"/>
                <c:pt idx="0">
                  <c:v>34.977292545358338</c:v>
                </c:pt>
                <c:pt idx="2">
                  <c:v>36.395347476301097</c:v>
                </c:pt>
                <c:pt idx="4">
                  <c:v>39.739597437523223</c:v>
                </c:pt>
                <c:pt idx="6">
                  <c:v>35.1328948525478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6E1-4652-B1FA-0A57DE09A0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60444543"/>
        <c:axId val="1060446463"/>
      </c:barChart>
      <c:barChart>
        <c:barDir val="col"/>
        <c:grouping val="stacked"/>
        <c:varyColors val="0"/>
        <c:ser>
          <c:idx val="11"/>
          <c:order val="11"/>
          <c:tx>
            <c:strRef>
              <c:f>CAPEX!$G$14</c:f>
              <c:strCache>
                <c:ptCount val="1"/>
                <c:pt idx="0">
                  <c:v>Production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CAPEX!$H$14:$O$14</c:f>
              <c:numCache>
                <c:formatCode>General</c:formatCode>
                <c:ptCount val="8"/>
                <c:pt idx="1">
                  <c:v>308885</c:v>
                </c:pt>
                <c:pt idx="3">
                  <c:v>312474</c:v>
                </c:pt>
                <c:pt idx="5">
                  <c:v>157398</c:v>
                </c:pt>
                <c:pt idx="7" formatCode="#,##0">
                  <c:v>1573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6E1-4652-B1FA-0A57DE09A0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81348144"/>
        <c:axId val="1281342384"/>
      </c:barChart>
      <c:catAx>
        <c:axId val="10604445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60446463"/>
        <c:crosses val="autoZero"/>
        <c:auto val="1"/>
        <c:lblAlgn val="ctr"/>
        <c:lblOffset val="100"/>
        <c:noMultiLvlLbl val="0"/>
      </c:catAx>
      <c:valAx>
        <c:axId val="1060446463"/>
        <c:scaling>
          <c:orientation val="minMax"/>
          <c:max val="275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LCOA [€/t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60444543"/>
        <c:crosses val="autoZero"/>
        <c:crossBetween val="between"/>
      </c:valAx>
      <c:valAx>
        <c:axId val="1281342384"/>
        <c:scaling>
          <c:orientation val="minMax"/>
          <c:max val="3000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Annual production [tNH3/year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81348144"/>
        <c:crosses val="max"/>
        <c:crossBetween val="between"/>
      </c:valAx>
      <c:catAx>
        <c:axId val="1281348144"/>
        <c:scaling>
          <c:orientation val="minMax"/>
        </c:scaling>
        <c:delete val="1"/>
        <c:axPos val="b"/>
        <c:majorTickMark val="out"/>
        <c:minorTickMark val="none"/>
        <c:tickLblPos val="nextTo"/>
        <c:crossAx val="128134238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legendEntry>
        <c:idx val="8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CAPEX!$A$26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CAPEX!$B$24:$D$24</c:f>
              <c:strCache>
                <c:ptCount val="3"/>
                <c:pt idx="0">
                  <c:v>10 MW</c:v>
                </c:pt>
                <c:pt idx="1">
                  <c:v>100 MW</c:v>
                </c:pt>
                <c:pt idx="2">
                  <c:v>500 MW</c:v>
                </c:pt>
              </c:strCache>
            </c:strRef>
          </c:cat>
          <c:val>
            <c:numRef>
              <c:f>CAPEX!$B$26:$D$26</c:f>
              <c:numCache>
                <c:formatCode>General</c:formatCode>
                <c:ptCount val="3"/>
                <c:pt idx="0">
                  <c:v>383.88758553013793</c:v>
                </c:pt>
                <c:pt idx="1">
                  <c:v>395.28890116227501</c:v>
                </c:pt>
                <c:pt idx="2">
                  <c:v>429.88542124352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EB-4B2C-8C38-42B73386EA98}"/>
            </c:ext>
          </c:extLst>
        </c:ser>
        <c:ser>
          <c:idx val="1"/>
          <c:order val="1"/>
          <c:tx>
            <c:strRef>
              <c:f>CAPEX!$A$27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CAPEX!$B$24:$D$24</c:f>
              <c:strCache>
                <c:ptCount val="3"/>
                <c:pt idx="0">
                  <c:v>10 MW</c:v>
                </c:pt>
                <c:pt idx="1">
                  <c:v>100 MW</c:v>
                </c:pt>
                <c:pt idx="2">
                  <c:v>500 MW</c:v>
                </c:pt>
              </c:strCache>
            </c:strRef>
          </c:cat>
          <c:val>
            <c:numRef>
              <c:f>CAPEX!$B$27:$D$27</c:f>
              <c:numCache>
                <c:formatCode>General</c:formatCode>
                <c:ptCount val="3"/>
                <c:pt idx="0">
                  <c:v>139.06187342059121</c:v>
                </c:pt>
                <c:pt idx="1">
                  <c:v>92.496668713632729</c:v>
                </c:pt>
                <c:pt idx="2">
                  <c:v>29.6617945002825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EB-4B2C-8C38-42B73386EA98}"/>
            </c:ext>
          </c:extLst>
        </c:ser>
        <c:ser>
          <c:idx val="2"/>
          <c:order val="2"/>
          <c:tx>
            <c:strRef>
              <c:f>CAPEX!$A$28</c:f>
              <c:strCache>
                <c:ptCount val="1"/>
                <c:pt idx="0">
                  <c:v>Grid electri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CAPEX!$B$24:$D$24</c:f>
              <c:strCache>
                <c:ptCount val="3"/>
                <c:pt idx="0">
                  <c:v>10 MW</c:v>
                </c:pt>
                <c:pt idx="1">
                  <c:v>100 MW</c:v>
                </c:pt>
                <c:pt idx="2">
                  <c:v>500 MW</c:v>
                </c:pt>
              </c:strCache>
            </c:strRef>
          </c:cat>
          <c:val>
            <c:numRef>
              <c:f>CAPEX!$B$28:$D$28</c:f>
              <c:numCache>
                <c:formatCode>General</c:formatCode>
                <c:ptCount val="3"/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EB-4B2C-8C38-42B73386EA98}"/>
            </c:ext>
          </c:extLst>
        </c:ser>
        <c:ser>
          <c:idx val="3"/>
          <c:order val="3"/>
          <c:tx>
            <c:strRef>
              <c:f>CAPEX!$A$29</c:f>
              <c:strCache>
                <c:ptCount val="1"/>
                <c:pt idx="0">
                  <c:v>Power Lin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CAPEX!$B$24:$D$24</c:f>
              <c:strCache>
                <c:ptCount val="3"/>
                <c:pt idx="0">
                  <c:v>10 MW</c:v>
                </c:pt>
                <c:pt idx="1">
                  <c:v>100 MW</c:v>
                </c:pt>
                <c:pt idx="2">
                  <c:v>500 MW</c:v>
                </c:pt>
              </c:strCache>
            </c:strRef>
          </c:cat>
          <c:val>
            <c:numRef>
              <c:f>CAPEX!$B$29:$D$29</c:f>
              <c:numCache>
                <c:formatCode>General</c:formatCode>
                <c:ptCount val="3"/>
                <c:pt idx="0">
                  <c:v>57.327802944336213</c:v>
                </c:pt>
                <c:pt idx="1">
                  <c:v>40.192871596060037</c:v>
                </c:pt>
                <c:pt idx="2">
                  <c:v>80.6487723128554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EEB-4B2C-8C38-42B73386EA98}"/>
            </c:ext>
          </c:extLst>
        </c:ser>
        <c:ser>
          <c:idx val="4"/>
          <c:order val="4"/>
          <c:tx>
            <c:strRef>
              <c:f>CAPEX!$A$30</c:f>
              <c:strCache>
                <c:ptCount val="1"/>
                <c:pt idx="0">
                  <c:v>Electrical infrastructur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CAPEX!$B$24:$D$24</c:f>
              <c:strCache>
                <c:ptCount val="3"/>
                <c:pt idx="0">
                  <c:v>10 MW</c:v>
                </c:pt>
                <c:pt idx="1">
                  <c:v>100 MW</c:v>
                </c:pt>
                <c:pt idx="2">
                  <c:v>500 MW</c:v>
                </c:pt>
              </c:strCache>
            </c:strRef>
          </c:cat>
          <c:val>
            <c:numRef>
              <c:f>CAPEX!$B$30:$D$30</c:f>
              <c:numCache>
                <c:formatCode>General</c:formatCode>
                <c:ptCount val="3"/>
                <c:pt idx="0">
                  <c:v>156.04137664688309</c:v>
                </c:pt>
                <c:pt idx="1">
                  <c:v>36.695756995359012</c:v>
                </c:pt>
                <c:pt idx="2">
                  <c:v>32.9695145729788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EB-4B2C-8C38-42B73386EA98}"/>
            </c:ext>
          </c:extLst>
        </c:ser>
        <c:ser>
          <c:idx val="5"/>
          <c:order val="5"/>
          <c:tx>
            <c:strRef>
              <c:f>CAPEX!$A$31</c:f>
              <c:strCache>
                <c:ptCount val="1"/>
                <c:pt idx="0">
                  <c:v>Battery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CAPEX!$B$24:$D$24</c:f>
              <c:strCache>
                <c:ptCount val="3"/>
                <c:pt idx="0">
                  <c:v>10 MW</c:v>
                </c:pt>
                <c:pt idx="1">
                  <c:v>100 MW</c:v>
                </c:pt>
                <c:pt idx="2">
                  <c:v>500 MW</c:v>
                </c:pt>
              </c:strCache>
            </c:strRef>
          </c:cat>
          <c:val>
            <c:numRef>
              <c:f>CAPEX!$B$31:$D$31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EEB-4B2C-8C38-42B73386EA98}"/>
            </c:ext>
          </c:extLst>
        </c:ser>
        <c:ser>
          <c:idx val="6"/>
          <c:order val="6"/>
          <c:tx>
            <c:strRef>
              <c:f>CAPEX!$A$32</c:f>
              <c:strCache>
                <c:ptCount val="1"/>
                <c:pt idx="0">
                  <c:v>Electrolysis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B$24:$D$24</c:f>
              <c:strCache>
                <c:ptCount val="3"/>
                <c:pt idx="0">
                  <c:v>10 MW</c:v>
                </c:pt>
                <c:pt idx="1">
                  <c:v>100 MW</c:v>
                </c:pt>
                <c:pt idx="2">
                  <c:v>500 MW</c:v>
                </c:pt>
              </c:strCache>
            </c:strRef>
          </c:cat>
          <c:val>
            <c:numRef>
              <c:f>CAPEX!$B$32:$D$32</c:f>
              <c:numCache>
                <c:formatCode>General</c:formatCode>
                <c:ptCount val="3"/>
                <c:pt idx="0">
                  <c:v>460.78310569724567</c:v>
                </c:pt>
                <c:pt idx="1">
                  <c:v>345.11388980610212</c:v>
                </c:pt>
                <c:pt idx="2">
                  <c:v>277.426552115198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EEB-4B2C-8C38-42B73386EA98}"/>
            </c:ext>
          </c:extLst>
        </c:ser>
        <c:ser>
          <c:idx val="7"/>
          <c:order val="7"/>
          <c:tx>
            <c:strRef>
              <c:f>CAPEX!$A$33</c:f>
              <c:strCache>
                <c:ptCount val="1"/>
                <c:pt idx="0">
                  <c:v>Water treatment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B$24:$D$24</c:f>
              <c:strCache>
                <c:ptCount val="3"/>
                <c:pt idx="0">
                  <c:v>10 MW</c:v>
                </c:pt>
                <c:pt idx="1">
                  <c:v>100 MW</c:v>
                </c:pt>
                <c:pt idx="2">
                  <c:v>500 MW</c:v>
                </c:pt>
              </c:strCache>
            </c:strRef>
          </c:cat>
          <c:val>
            <c:numRef>
              <c:f>CAPEX!$B$33:$D$33</c:f>
              <c:numCache>
                <c:formatCode>General</c:formatCode>
                <c:ptCount val="3"/>
                <c:pt idx="0">
                  <c:v>9.4130304334409622</c:v>
                </c:pt>
                <c:pt idx="1">
                  <c:v>10.114010990334069</c:v>
                </c:pt>
                <c:pt idx="2">
                  <c:v>10.54091016636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EEB-4B2C-8C38-42B73386EA98}"/>
            </c:ext>
          </c:extLst>
        </c:ser>
        <c:ser>
          <c:idx val="8"/>
          <c:order val="8"/>
          <c:tx>
            <c:strRef>
              <c:f>CAPEX!$A$34</c:f>
              <c:strCache>
                <c:ptCount val="1"/>
                <c:pt idx="0">
                  <c:v>H2 Storage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B$24:$D$24</c:f>
              <c:strCache>
                <c:ptCount val="3"/>
                <c:pt idx="0">
                  <c:v>10 MW</c:v>
                </c:pt>
                <c:pt idx="1">
                  <c:v>100 MW</c:v>
                </c:pt>
                <c:pt idx="2">
                  <c:v>500 MW</c:v>
                </c:pt>
              </c:strCache>
            </c:strRef>
          </c:cat>
          <c:val>
            <c:numRef>
              <c:f>CAPEX!$B$34:$D$34</c:f>
              <c:numCache>
                <c:formatCode>General</c:formatCode>
                <c:ptCount val="3"/>
                <c:pt idx="0">
                  <c:v>49.704275550512868</c:v>
                </c:pt>
                <c:pt idx="1">
                  <c:v>21.658698586494431</c:v>
                </c:pt>
                <c:pt idx="2">
                  <c:v>18.9801393907007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EEB-4B2C-8C38-42B73386EA98}"/>
            </c:ext>
          </c:extLst>
        </c:ser>
        <c:ser>
          <c:idx val="9"/>
          <c:order val="9"/>
          <c:tx>
            <c:strRef>
              <c:f>CAPEX!$A$35</c:f>
              <c:strCache>
                <c:ptCount val="1"/>
                <c:pt idx="0">
                  <c:v>Ammonia synthesis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B$24:$D$24</c:f>
              <c:strCache>
                <c:ptCount val="3"/>
                <c:pt idx="0">
                  <c:v>10 MW</c:v>
                </c:pt>
                <c:pt idx="1">
                  <c:v>100 MW</c:v>
                </c:pt>
                <c:pt idx="2">
                  <c:v>500 MW</c:v>
                </c:pt>
              </c:strCache>
            </c:strRef>
          </c:cat>
          <c:val>
            <c:numRef>
              <c:f>CAPEX!$B$35:$D$35</c:f>
              <c:numCache>
                <c:formatCode>General</c:formatCode>
                <c:ptCount val="3"/>
                <c:pt idx="0">
                  <c:v>247.8842325760161</c:v>
                </c:pt>
                <c:pt idx="1">
                  <c:v>124.00603724023119</c:v>
                </c:pt>
                <c:pt idx="2">
                  <c:v>75.742483402925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EEB-4B2C-8C38-42B73386EA98}"/>
            </c:ext>
          </c:extLst>
        </c:ser>
        <c:ser>
          <c:idx val="10"/>
          <c:order val="10"/>
          <c:tx>
            <c:strRef>
              <c:f>CAPEX!$A$36</c:f>
              <c:strCache>
                <c:ptCount val="1"/>
                <c:pt idx="0">
                  <c:v>Air separation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B$24:$D$24</c:f>
              <c:strCache>
                <c:ptCount val="3"/>
                <c:pt idx="0">
                  <c:v>10 MW</c:v>
                </c:pt>
                <c:pt idx="1">
                  <c:v>100 MW</c:v>
                </c:pt>
                <c:pt idx="2">
                  <c:v>500 MW</c:v>
                </c:pt>
              </c:strCache>
            </c:strRef>
          </c:cat>
          <c:val>
            <c:numRef>
              <c:f>CAPEX!$B$36:$D$36</c:f>
              <c:numCache>
                <c:formatCode>General</c:formatCode>
                <c:ptCount val="3"/>
                <c:pt idx="0">
                  <c:v>32.501037199149259</c:v>
                </c:pt>
                <c:pt idx="1">
                  <c:v>34.921362440479108</c:v>
                </c:pt>
                <c:pt idx="2">
                  <c:v>36.3953474763010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EEB-4B2C-8C38-42B73386EA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29626063"/>
        <c:axId val="229632303"/>
      </c:barChart>
      <c:catAx>
        <c:axId val="2296260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29632303"/>
        <c:crosses val="autoZero"/>
        <c:auto val="1"/>
        <c:lblAlgn val="ctr"/>
        <c:lblOffset val="100"/>
        <c:noMultiLvlLbl val="0"/>
      </c:catAx>
      <c:valAx>
        <c:axId val="229632303"/>
        <c:scaling>
          <c:orientation val="minMax"/>
          <c:max val="155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LCOA [€/t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296260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5"/>
        <c:delete val="1"/>
      </c:legendEntry>
      <c:legendEntry>
        <c:idx val="8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CAPEX!$E$26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CAPEX!$F$24:$H$24</c:f>
              <c:strCache>
                <c:ptCount val="3"/>
                <c:pt idx="0">
                  <c:v>No grid electricity</c:v>
                </c:pt>
                <c:pt idx="1">
                  <c:v>Grid for auxiliaries</c:v>
                </c:pt>
                <c:pt idx="2">
                  <c:v>Grid</c:v>
                </c:pt>
              </c:strCache>
            </c:strRef>
          </c:cat>
          <c:val>
            <c:numRef>
              <c:f>CAPEX!$F$26:$H$26</c:f>
              <c:numCache>
                <c:formatCode>General</c:formatCode>
                <c:ptCount val="3"/>
                <c:pt idx="0">
                  <c:v>395.28890116227501</c:v>
                </c:pt>
                <c:pt idx="1">
                  <c:v>397.54290869454428</c:v>
                </c:pt>
                <c:pt idx="2">
                  <c:v>331.070920484364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83-45FD-8765-85C0B22EF359}"/>
            </c:ext>
          </c:extLst>
        </c:ser>
        <c:ser>
          <c:idx val="1"/>
          <c:order val="1"/>
          <c:tx>
            <c:strRef>
              <c:f>CAPEX!$E$27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CAPEX!$F$24:$H$24</c:f>
              <c:strCache>
                <c:ptCount val="3"/>
                <c:pt idx="0">
                  <c:v>No grid electricity</c:v>
                </c:pt>
                <c:pt idx="1">
                  <c:v>Grid for auxiliaries</c:v>
                </c:pt>
                <c:pt idx="2">
                  <c:v>Grid</c:v>
                </c:pt>
              </c:strCache>
            </c:strRef>
          </c:cat>
          <c:val>
            <c:numRef>
              <c:f>CAPEX!$F$27:$H$27</c:f>
              <c:numCache>
                <c:formatCode>General</c:formatCode>
                <c:ptCount val="3"/>
                <c:pt idx="0">
                  <c:v>92.496668713632729</c:v>
                </c:pt>
                <c:pt idx="1">
                  <c:v>78.712700972608957</c:v>
                </c:pt>
                <c:pt idx="2">
                  <c:v>23.836865537482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83-45FD-8765-85C0B22EF359}"/>
            </c:ext>
          </c:extLst>
        </c:ser>
        <c:ser>
          <c:idx val="2"/>
          <c:order val="2"/>
          <c:tx>
            <c:strRef>
              <c:f>CAPEX!$E$28</c:f>
              <c:strCache>
                <c:ptCount val="1"/>
                <c:pt idx="0">
                  <c:v>Grid electri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CAPEX!$F$24:$H$24</c:f>
              <c:strCache>
                <c:ptCount val="3"/>
                <c:pt idx="0">
                  <c:v>No grid electricity</c:v>
                </c:pt>
                <c:pt idx="1">
                  <c:v>Grid for auxiliaries</c:v>
                </c:pt>
                <c:pt idx="2">
                  <c:v>Grid</c:v>
                </c:pt>
              </c:strCache>
            </c:strRef>
          </c:cat>
          <c:val>
            <c:numRef>
              <c:f>CAPEX!$F$28:$H$28</c:f>
              <c:numCache>
                <c:formatCode>General</c:formatCode>
                <c:ptCount val="3"/>
                <c:pt idx="0">
                  <c:v>0</c:v>
                </c:pt>
                <c:pt idx="1">
                  <c:v>1.884432182700716</c:v>
                </c:pt>
                <c:pt idx="2">
                  <c:v>189.901231575676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A83-45FD-8765-85C0B22EF359}"/>
            </c:ext>
          </c:extLst>
        </c:ser>
        <c:ser>
          <c:idx val="3"/>
          <c:order val="3"/>
          <c:tx>
            <c:strRef>
              <c:f>CAPEX!$E$29</c:f>
              <c:strCache>
                <c:ptCount val="1"/>
                <c:pt idx="0">
                  <c:v>Power Lin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CAPEX!$F$24:$H$24</c:f>
              <c:strCache>
                <c:ptCount val="3"/>
                <c:pt idx="0">
                  <c:v>No grid electricity</c:v>
                </c:pt>
                <c:pt idx="1">
                  <c:v>Grid for auxiliaries</c:v>
                </c:pt>
                <c:pt idx="2">
                  <c:v>Grid</c:v>
                </c:pt>
              </c:strCache>
            </c:strRef>
          </c:cat>
          <c:val>
            <c:numRef>
              <c:f>CAPEX!$F$29:$H$29</c:f>
              <c:numCache>
                <c:formatCode>General</c:formatCode>
                <c:ptCount val="3"/>
                <c:pt idx="0">
                  <c:v>40.192871596060037</c:v>
                </c:pt>
                <c:pt idx="1">
                  <c:v>40.189125377282693</c:v>
                </c:pt>
                <c:pt idx="2">
                  <c:v>32.4568983609423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A83-45FD-8765-85C0B22EF359}"/>
            </c:ext>
          </c:extLst>
        </c:ser>
        <c:ser>
          <c:idx val="4"/>
          <c:order val="4"/>
          <c:tx>
            <c:strRef>
              <c:f>CAPEX!$E$30</c:f>
              <c:strCache>
                <c:ptCount val="1"/>
                <c:pt idx="0">
                  <c:v>Electrical infrastructur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CAPEX!$F$24:$H$24</c:f>
              <c:strCache>
                <c:ptCount val="3"/>
                <c:pt idx="0">
                  <c:v>No grid electricity</c:v>
                </c:pt>
                <c:pt idx="1">
                  <c:v>Grid for auxiliaries</c:v>
                </c:pt>
                <c:pt idx="2">
                  <c:v>Grid</c:v>
                </c:pt>
              </c:strCache>
            </c:strRef>
          </c:cat>
          <c:val>
            <c:numRef>
              <c:f>CAPEX!$F$30:$H$30</c:f>
              <c:numCache>
                <c:formatCode>General</c:formatCode>
                <c:ptCount val="3"/>
                <c:pt idx="0">
                  <c:v>36.695756995359012</c:v>
                </c:pt>
                <c:pt idx="1">
                  <c:v>35.632416419563427</c:v>
                </c:pt>
                <c:pt idx="2">
                  <c:v>25.9651211591598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A83-45FD-8765-85C0B22EF359}"/>
            </c:ext>
          </c:extLst>
        </c:ser>
        <c:ser>
          <c:idx val="5"/>
          <c:order val="5"/>
          <c:tx>
            <c:strRef>
              <c:f>CAPEX!$E$31</c:f>
              <c:strCache>
                <c:ptCount val="1"/>
                <c:pt idx="0">
                  <c:v>Battery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CAPEX!$F$24:$H$24</c:f>
              <c:strCache>
                <c:ptCount val="3"/>
                <c:pt idx="0">
                  <c:v>No grid electricity</c:v>
                </c:pt>
                <c:pt idx="1">
                  <c:v>Grid for auxiliaries</c:v>
                </c:pt>
                <c:pt idx="2">
                  <c:v>Grid</c:v>
                </c:pt>
              </c:strCache>
            </c:strRef>
          </c:cat>
          <c:val>
            <c:numRef>
              <c:f>CAPEX!$F$31:$H$31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A83-45FD-8765-85C0B22EF359}"/>
            </c:ext>
          </c:extLst>
        </c:ser>
        <c:ser>
          <c:idx val="6"/>
          <c:order val="6"/>
          <c:tx>
            <c:strRef>
              <c:f>CAPEX!$E$32</c:f>
              <c:strCache>
                <c:ptCount val="1"/>
                <c:pt idx="0">
                  <c:v>Electrolysis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F$24:$H$24</c:f>
              <c:strCache>
                <c:ptCount val="3"/>
                <c:pt idx="0">
                  <c:v>No grid electricity</c:v>
                </c:pt>
                <c:pt idx="1">
                  <c:v>Grid for auxiliaries</c:v>
                </c:pt>
                <c:pt idx="2">
                  <c:v>Grid</c:v>
                </c:pt>
              </c:strCache>
            </c:strRef>
          </c:cat>
          <c:val>
            <c:numRef>
              <c:f>CAPEX!$F$32:$H$32</c:f>
              <c:numCache>
                <c:formatCode>General</c:formatCode>
                <c:ptCount val="3"/>
                <c:pt idx="0">
                  <c:v>345.11388980610212</c:v>
                </c:pt>
                <c:pt idx="1">
                  <c:v>343.78561042065769</c:v>
                </c:pt>
                <c:pt idx="2">
                  <c:v>290.483071464927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A83-45FD-8765-85C0B22EF359}"/>
            </c:ext>
          </c:extLst>
        </c:ser>
        <c:ser>
          <c:idx val="7"/>
          <c:order val="7"/>
          <c:tx>
            <c:strRef>
              <c:f>CAPEX!$E$33</c:f>
              <c:strCache>
                <c:ptCount val="1"/>
                <c:pt idx="0">
                  <c:v>Water treatment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F$24:$H$24</c:f>
              <c:strCache>
                <c:ptCount val="3"/>
                <c:pt idx="0">
                  <c:v>No grid electricity</c:v>
                </c:pt>
                <c:pt idx="1">
                  <c:v>Grid for auxiliaries</c:v>
                </c:pt>
                <c:pt idx="2">
                  <c:v>Grid</c:v>
                </c:pt>
              </c:strCache>
            </c:strRef>
          </c:cat>
          <c:val>
            <c:numRef>
              <c:f>CAPEX!$F$33:$H$33</c:f>
              <c:numCache>
                <c:formatCode>General</c:formatCode>
                <c:ptCount val="3"/>
                <c:pt idx="0">
                  <c:v>10.114010990334069</c:v>
                </c:pt>
                <c:pt idx="1">
                  <c:v>10.17168287762116</c:v>
                </c:pt>
                <c:pt idx="2">
                  <c:v>8.47090550357815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A83-45FD-8765-85C0B22EF359}"/>
            </c:ext>
          </c:extLst>
        </c:ser>
        <c:ser>
          <c:idx val="8"/>
          <c:order val="8"/>
          <c:tx>
            <c:strRef>
              <c:f>CAPEX!$E$34</c:f>
              <c:strCache>
                <c:ptCount val="1"/>
                <c:pt idx="0">
                  <c:v>H2 Storage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F$24:$H$24</c:f>
              <c:strCache>
                <c:ptCount val="3"/>
                <c:pt idx="0">
                  <c:v>No grid electricity</c:v>
                </c:pt>
                <c:pt idx="1">
                  <c:v>Grid for auxiliaries</c:v>
                </c:pt>
                <c:pt idx="2">
                  <c:v>Grid</c:v>
                </c:pt>
              </c:strCache>
            </c:strRef>
          </c:cat>
          <c:val>
            <c:numRef>
              <c:f>CAPEX!$F$34:$H$34</c:f>
              <c:numCache>
                <c:formatCode>General</c:formatCode>
                <c:ptCount val="3"/>
                <c:pt idx="0">
                  <c:v>21.658698586494431</c:v>
                </c:pt>
                <c:pt idx="1">
                  <c:v>36.32970612136625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A83-45FD-8765-85C0B22EF359}"/>
            </c:ext>
          </c:extLst>
        </c:ser>
        <c:ser>
          <c:idx val="9"/>
          <c:order val="9"/>
          <c:tx>
            <c:strRef>
              <c:f>CAPEX!$E$35</c:f>
              <c:strCache>
                <c:ptCount val="1"/>
                <c:pt idx="0">
                  <c:v>Ammonia synthesis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F$24:$H$24</c:f>
              <c:strCache>
                <c:ptCount val="3"/>
                <c:pt idx="0">
                  <c:v>No grid electricity</c:v>
                </c:pt>
                <c:pt idx="1">
                  <c:v>Grid for auxiliaries</c:v>
                </c:pt>
                <c:pt idx="2">
                  <c:v>Grid</c:v>
                </c:pt>
              </c:strCache>
            </c:strRef>
          </c:cat>
          <c:val>
            <c:numRef>
              <c:f>CAPEX!$F$35:$H$35</c:f>
              <c:numCache>
                <c:formatCode>General</c:formatCode>
                <c:ptCount val="3"/>
                <c:pt idx="0">
                  <c:v>124.00603724023119</c:v>
                </c:pt>
                <c:pt idx="1">
                  <c:v>118.47748460797609</c:v>
                </c:pt>
                <c:pt idx="2">
                  <c:v>103.8602216607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A83-45FD-8765-85C0B22EF359}"/>
            </c:ext>
          </c:extLst>
        </c:ser>
        <c:ser>
          <c:idx val="10"/>
          <c:order val="10"/>
          <c:tx>
            <c:strRef>
              <c:f>CAPEX!$E$36</c:f>
              <c:strCache>
                <c:ptCount val="1"/>
                <c:pt idx="0">
                  <c:v>Air separation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CAPEX!$F$24:$H$24</c:f>
              <c:strCache>
                <c:ptCount val="3"/>
                <c:pt idx="0">
                  <c:v>No grid electricity</c:v>
                </c:pt>
                <c:pt idx="1">
                  <c:v>Grid for auxiliaries</c:v>
                </c:pt>
                <c:pt idx="2">
                  <c:v>Grid</c:v>
                </c:pt>
              </c:strCache>
            </c:strRef>
          </c:cat>
          <c:val>
            <c:numRef>
              <c:f>CAPEX!$F$36:$H$36</c:f>
              <c:numCache>
                <c:formatCode>General</c:formatCode>
                <c:ptCount val="3"/>
                <c:pt idx="0">
                  <c:v>34.921362440479108</c:v>
                </c:pt>
                <c:pt idx="1">
                  <c:v>33.364465739810967</c:v>
                </c:pt>
                <c:pt idx="2">
                  <c:v>29.2480956934110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A83-45FD-8765-85C0B22EF3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75676864"/>
        <c:axId val="1275683104"/>
      </c:barChart>
      <c:catAx>
        <c:axId val="1275676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75683104"/>
        <c:crosses val="autoZero"/>
        <c:auto val="1"/>
        <c:lblAlgn val="ctr"/>
        <c:lblOffset val="100"/>
        <c:noMultiLvlLbl val="0"/>
      </c:catAx>
      <c:valAx>
        <c:axId val="1275683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LCOA [€/t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7567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100 MW electrolysi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APEX!$J$25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CAPEX!$K$24:$N$24</c:f>
              <c:strCache>
                <c:ptCount val="4"/>
                <c:pt idx="0">
                  <c:v>Turkana central</c:v>
                </c:pt>
                <c:pt idx="1">
                  <c:v>Turkana south</c:v>
                </c:pt>
                <c:pt idx="2">
                  <c:v>Kisumu</c:v>
                </c:pt>
                <c:pt idx="3">
                  <c:v>Mombasa</c:v>
                </c:pt>
              </c:strCache>
            </c:strRef>
          </c:cat>
          <c:val>
            <c:numRef>
              <c:f>CAPEX!$K$25:$N$25</c:f>
              <c:numCache>
                <c:formatCode>#,##0.0</c:formatCode>
                <c:ptCount val="4"/>
                <c:pt idx="0">
                  <c:v>120</c:v>
                </c:pt>
                <c:pt idx="1">
                  <c:v>115</c:v>
                </c:pt>
                <c:pt idx="2">
                  <c:v>0</c:v>
                </c:pt>
                <c:pt idx="3">
                  <c:v>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D0-49D5-903F-5A1EB6F6FB99}"/>
            </c:ext>
          </c:extLst>
        </c:ser>
        <c:ser>
          <c:idx val="1"/>
          <c:order val="1"/>
          <c:tx>
            <c:strRef>
              <c:f>CAPEX!$J$26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CAPEX!$K$24:$N$24</c:f>
              <c:strCache>
                <c:ptCount val="4"/>
                <c:pt idx="0">
                  <c:v>Turkana central</c:v>
                </c:pt>
                <c:pt idx="1">
                  <c:v>Turkana south</c:v>
                </c:pt>
                <c:pt idx="2">
                  <c:v>Kisumu</c:v>
                </c:pt>
                <c:pt idx="3">
                  <c:v>Mombasa</c:v>
                </c:pt>
              </c:strCache>
            </c:strRef>
          </c:cat>
          <c:val>
            <c:numRef>
              <c:f>CAPEX!$K$26:$N$26</c:f>
              <c:numCache>
                <c:formatCode>#,##0.0</c:formatCode>
                <c:ptCount val="4"/>
                <c:pt idx="0">
                  <c:v>150</c:v>
                </c:pt>
                <c:pt idx="1">
                  <c:v>65</c:v>
                </c:pt>
                <c:pt idx="2">
                  <c:v>230</c:v>
                </c:pt>
                <c:pt idx="3">
                  <c:v>1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D0-49D5-903F-5A1EB6F6FB99}"/>
            </c:ext>
          </c:extLst>
        </c:ser>
        <c:ser>
          <c:idx val="2"/>
          <c:order val="2"/>
          <c:tx>
            <c:strRef>
              <c:f>CAPEX!$J$27</c:f>
              <c:strCache>
                <c:ptCount val="1"/>
                <c:pt idx="0">
                  <c:v>Batter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CAPEX!$K$24:$N$24</c:f>
              <c:strCache>
                <c:ptCount val="4"/>
                <c:pt idx="0">
                  <c:v>Turkana central</c:v>
                </c:pt>
                <c:pt idx="1">
                  <c:v>Turkana south</c:v>
                </c:pt>
                <c:pt idx="2">
                  <c:v>Kisumu</c:v>
                </c:pt>
                <c:pt idx="3">
                  <c:v>Mombasa</c:v>
                </c:pt>
              </c:strCache>
            </c:strRef>
          </c:cat>
          <c:val>
            <c:numRef>
              <c:f>CAPEX!$K$27:$N$27</c:f>
              <c:numCache>
                <c:formatCode>General</c:formatCode>
                <c:ptCount val="4"/>
                <c:pt idx="0">
                  <c:v>10</c:v>
                </c:pt>
                <c:pt idx="1">
                  <c:v>0</c:v>
                </c:pt>
                <c:pt idx="2">
                  <c:v>5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D0-49D5-903F-5A1EB6F6FB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75698944"/>
        <c:axId val="1275721984"/>
      </c:barChart>
      <c:catAx>
        <c:axId val="127569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75721984"/>
        <c:crosses val="autoZero"/>
        <c:auto val="1"/>
        <c:lblAlgn val="ctr"/>
        <c:lblOffset val="100"/>
        <c:noMultiLvlLbl val="0"/>
      </c:catAx>
      <c:valAx>
        <c:axId val="12757219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Installed capacity [MW] / [MWh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75698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B8348-D21A-40D1-A345-AE4195525707}" type="datetime1">
              <a:rPr lang="de-DE" smtClean="0"/>
              <a:t>11.11.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B3A79B-E553-4A39-A76F-CD6E91D237D4}" type="datetime1">
              <a:rPr lang="de-DE" smtClean="0"/>
              <a:t>11.11.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983B20-CF3E-4EB7-8ABD-887696F49A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AAC8613D-F6AB-4316-80AF-36D2E474DDAB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758628-A8B7-4C0C-9D76-AB8C368362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93D0D8-808F-4B9D-9E74-3D2864287D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BC2696E-72C2-4433-8DE5-422F1C130FDE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C768F">
                  <a:alpha val="94902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7475347-60C7-4275-87BB-E0A043A539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BC5EC58-4999-4484-80C5-103BA672F3CB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62368A1-9617-47E7-A038-2429D81091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CAF98EC-E908-46DA-A386-F0D4232D418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8DCC3F-E343-4E3F-B16A-B6051F15F1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015" b="18610"/>
          <a:stretch/>
        </p:blipFill>
        <p:spPr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953F531-4CC0-4B0D-8FC3-69DC89B702BD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0EB8D40A-176A-4C73-94E8-E4F599039B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6674E2B-885A-4004-8A36-54B05EB29C8D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4B383-1F8A-4259-83A7-AA29BCE312CF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EFC5D-B848-48E0-B857-6309FBCADE0A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9EC37-EF17-444B-9AD1-BEFF9474A73C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9C5DBD5-A110-4F59-8050-810AE4E030F5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E82475D-9BC4-4A70-9FF0-18A757D6A9DA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D1517-CBD5-4AC8-BC55-E5920B426FB7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8778D-8BC8-464B-A800-1D1791A3726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3C44E32D-77B6-4968-93ED-BA4D2D110C30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260CBB-BBBF-4BD2-A2B2-E16FB43BCE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9F131B-2B68-425B-8FFF-8D359E0D5D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0DD7A-8FF0-40E5-93E2-877C81943291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7C6138-5220-455A-A4AE-B508CAB1F02D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7E42D41-32DA-4B7D-8B41-FB4D3B19A2AA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9527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7479305-D48B-4D42-8924-5F9E8CB194C9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FFEA4AE-E793-4354-B9EF-490DD64E13BF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5" b="18624"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CC6449-A79F-4DD0-9918-1D87CB24D142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09F1F2-5AE7-4500-87D3-FAD916B3136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EBB5D19E-2E9D-45D2-9EE9-E6717FAC9708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9D760A-5328-4251-ACFF-CB470EE347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FC189F-C42A-4071-BC47-28A29172D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3F48CE-72D6-4312-9E4E-63E50B50038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AC76D9B6-9890-45FA-A090-E32A519E15A2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3046E-333C-49E5-BC21-4B96362580A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6BEE77-0380-4FD0-A81C-71B6A50C651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97DE11-A966-449E-A5FD-31979AF3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13C52-2525-4A5D-916B-98841273CAD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83FE13D0-0475-472E-8CC1-3D9151AF7F72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219F9CA-C990-4FAF-BBA2-C37D042E4F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B3BB0E-EF1D-44E5-9391-ED9E79F83D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2899448-9279-4D9E-9D96-1D7F48A26C47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974270"/>
            <a:ext cx="5916612" cy="3010605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4FAF97-8E98-4493-977E-6FEDC5291BD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87BA652B-B009-498D-B406-DC406436CFF6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0CB561-9F99-4288-90CE-88D602D52C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596121-908B-4B59-963A-E95F7A8684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26C9846-D78A-41C2-B9DE-AAB4647AB0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FAD33334-8CC2-44DB-861A-157A400FDB98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8AD9C8-2824-4897-945F-4A8A1D2456E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1209F8-6861-41DE-A5C0-5C8F5AB393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719AE-30B8-45EA-B80C-409CF4F2B2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74A1379B-D4F3-413D-89DE-153DB2F59E51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BC588A-DC32-4D84-AD10-E7DF3D9A9C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CB5C3E-E47D-427A-AA11-CB39E0BAF2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3148592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A4204C2-4248-49B0-B888-AEDE5C87E88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8D0F98E0-350E-426D-A614-2C1E5EB48726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0296C33-84D5-4891-A511-A73F2EF90E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DE090B-8EDC-46F6-A07B-49E25523BD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71DDCE-8584-473E-89A6-4E1C8FE4FEF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46DAF8E-1F33-44E2-A29B-4926F21D878E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F76422-6FC9-4F77-8DC2-9370AFAFE8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BBD116-D531-4394-B940-E1E0CD4B016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A530ABD5-9F30-44B9-A992-D245D7CB5B3A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29E05A8-1FAB-4A92-BC26-9F35C703FBD2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44" imgH="345" progId="TCLayout.ActiveDocument.1">
                  <p:embed/>
                </p:oleObj>
              </mc:Choice>
              <mc:Fallback>
                <p:oleObj name="think-cell Folie" r:id="rId32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9078C0A0-0811-49A3-A8BF-0D681243BDB2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 dirty="0"/>
              <a:t>© Fraunhofer IEE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endParaRPr lang="en-US" sz="800" b="1" dirty="0">
              <a:latin typeface="+mj-lt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2" name="iee_rgb">
            <a:extLst>
              <a:ext uri="{FF2B5EF4-FFF2-40B4-BE49-F238E27FC236}">
                <a16:creationId xmlns:a16="http://schemas.microsoft.com/office/drawing/2014/main" id="{B3BEB132-5B88-41DF-BBF1-B456715AFD26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309226" y="6334126"/>
            <a:ext cx="1404000" cy="371881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CA5D3156-5327-486B-BAAB-A31AD391D4BA}"/>
              </a:ext>
            </a:extLst>
          </p:cNvPr>
          <p:cNvSpPr/>
          <p:nvPr userDrawn="1"/>
        </p:nvSpPr>
        <p:spPr bwMode="gray">
          <a:xfrm>
            <a:off x="3176298" y="7089396"/>
            <a:ext cx="545576" cy="5455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1DAE819-ED30-4371-9894-4B11F80454DC}"/>
              </a:ext>
            </a:extLst>
          </p:cNvPr>
          <p:cNvSpPr>
            <a:spLocks/>
          </p:cNvSpPr>
          <p:nvPr userDrawn="1"/>
        </p:nvSpPr>
        <p:spPr bwMode="gray">
          <a:xfrm>
            <a:off x="6352596" y="7089396"/>
            <a:ext cx="545576" cy="5455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7EEE808-56B1-47D8-8BD5-1E0C98D929F4}"/>
              </a:ext>
            </a:extLst>
          </p:cNvPr>
          <p:cNvSpPr>
            <a:spLocks/>
          </p:cNvSpPr>
          <p:nvPr userDrawn="1"/>
        </p:nvSpPr>
        <p:spPr bwMode="gray">
          <a:xfrm>
            <a:off x="2117532" y="7089396"/>
            <a:ext cx="545576" cy="545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969A8C4-E1EA-4B1B-A009-15EF04DB9C21}"/>
              </a:ext>
            </a:extLst>
          </p:cNvPr>
          <p:cNvSpPr/>
          <p:nvPr userDrawn="1"/>
        </p:nvSpPr>
        <p:spPr bwMode="gray">
          <a:xfrm>
            <a:off x="7411362" y="7089396"/>
            <a:ext cx="545576" cy="5455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A276466-5D19-4714-9B66-55DB9AEF6FFF}"/>
              </a:ext>
            </a:extLst>
          </p:cNvPr>
          <p:cNvSpPr/>
          <p:nvPr userDrawn="1"/>
        </p:nvSpPr>
        <p:spPr bwMode="gray">
          <a:xfrm>
            <a:off x="8470128" y="7089396"/>
            <a:ext cx="545576" cy="54557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DCFCFD9-3A44-460F-AE36-31548189E9E4}"/>
              </a:ext>
            </a:extLst>
          </p:cNvPr>
          <p:cNvSpPr>
            <a:spLocks/>
          </p:cNvSpPr>
          <p:nvPr userDrawn="1"/>
        </p:nvSpPr>
        <p:spPr bwMode="gray">
          <a:xfrm>
            <a:off x="1058766" y="7089396"/>
            <a:ext cx="545576" cy="545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DBDBAE4-C3F3-41C7-BEED-6DD12C9A542E}"/>
              </a:ext>
            </a:extLst>
          </p:cNvPr>
          <p:cNvSpPr>
            <a:spLocks/>
          </p:cNvSpPr>
          <p:nvPr userDrawn="1"/>
        </p:nvSpPr>
        <p:spPr bwMode="gray">
          <a:xfrm>
            <a:off x="0" y="7089396"/>
            <a:ext cx="545576" cy="5455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428DDE3-D13E-46C6-A3A4-5536B174270E}"/>
              </a:ext>
            </a:extLst>
          </p:cNvPr>
          <p:cNvSpPr/>
          <p:nvPr userDrawn="1"/>
        </p:nvSpPr>
        <p:spPr bwMode="gray">
          <a:xfrm>
            <a:off x="4235064" y="7089396"/>
            <a:ext cx="545576" cy="545576"/>
          </a:xfrm>
          <a:prstGeom prst="rect">
            <a:avLst/>
          </a:prstGeom>
          <a:solidFill>
            <a:srgbClr val="1C3F5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1E1ED731-BD81-4EBE-A6EE-B8451AD232E6}"/>
              </a:ext>
            </a:extLst>
          </p:cNvPr>
          <p:cNvSpPr/>
          <p:nvPr userDrawn="1"/>
        </p:nvSpPr>
        <p:spPr bwMode="gray">
          <a:xfrm>
            <a:off x="5293830" y="7089396"/>
            <a:ext cx="545576" cy="545576"/>
          </a:xfrm>
          <a:prstGeom prst="rect">
            <a:avLst/>
          </a:prstGeom>
          <a:solidFill>
            <a:srgbClr val="D3C7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05E5A375-F13F-4A0E-8F43-755BB4D0E7B8}"/>
              </a:ext>
            </a:extLst>
          </p:cNvPr>
          <p:cNvSpPr>
            <a:spLocks/>
          </p:cNvSpPr>
          <p:nvPr userDrawn="1"/>
        </p:nvSpPr>
        <p:spPr bwMode="gray">
          <a:xfrm>
            <a:off x="11646424" y="7089396"/>
            <a:ext cx="545576" cy="545576"/>
          </a:xfrm>
          <a:prstGeom prst="rect">
            <a:avLst/>
          </a:prstGeom>
          <a:solidFill>
            <a:srgbClr val="7C15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89A5387-4013-43FA-B837-DC982E70CE00}"/>
              </a:ext>
            </a:extLst>
          </p:cNvPr>
          <p:cNvSpPr>
            <a:spLocks/>
          </p:cNvSpPr>
          <p:nvPr userDrawn="1"/>
        </p:nvSpPr>
        <p:spPr bwMode="gray">
          <a:xfrm>
            <a:off x="10587660" y="7089396"/>
            <a:ext cx="545576" cy="545576"/>
          </a:xfrm>
          <a:prstGeom prst="rect">
            <a:avLst/>
          </a:prstGeom>
          <a:solidFill>
            <a:srgbClr val="BB00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C359D98B-957F-4902-B96A-81735D1A342D}"/>
              </a:ext>
            </a:extLst>
          </p:cNvPr>
          <p:cNvSpPr>
            <a:spLocks/>
          </p:cNvSpPr>
          <p:nvPr userDrawn="1"/>
        </p:nvSpPr>
        <p:spPr bwMode="gray">
          <a:xfrm>
            <a:off x="9528894" y="7089396"/>
            <a:ext cx="545576" cy="545576"/>
          </a:xfrm>
          <a:prstGeom prst="rect">
            <a:avLst/>
          </a:prstGeom>
          <a:solidFill>
            <a:srgbClr val="FDB9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-115139" y="7725646"/>
            <a:ext cx="775853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3 / 156 / 125</a:t>
            </a:r>
            <a:endParaRPr lang="de-DE" sz="1000" dirty="0"/>
          </a:p>
        </p:txBody>
      </p:sp>
      <p:sp>
        <p:nvSpPr>
          <p:cNvPr id="26" name="Textfeld 25"/>
          <p:cNvSpPr txBox="1"/>
          <p:nvPr userDrawn="1"/>
        </p:nvSpPr>
        <p:spPr>
          <a:xfrm>
            <a:off x="982099" y="7725646"/>
            <a:ext cx="634789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 / 91 / 127</a:t>
            </a:r>
            <a:endParaRPr lang="de-DE" sz="1000" dirty="0"/>
          </a:p>
        </p:txBody>
      </p:sp>
      <p:sp>
        <p:nvSpPr>
          <p:cNvPr id="27" name="Textfeld 26"/>
          <p:cNvSpPr txBox="1"/>
          <p:nvPr userDrawn="1"/>
        </p:nvSpPr>
        <p:spPr>
          <a:xfrm>
            <a:off x="1938273" y="7725646"/>
            <a:ext cx="846386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6 / 187 / 200</a:t>
            </a:r>
            <a:endParaRPr lang="de-DE" sz="1000" dirty="0"/>
          </a:p>
        </p:txBody>
      </p:sp>
      <p:sp>
        <p:nvSpPr>
          <p:cNvPr id="28" name="Textfeld 27"/>
          <p:cNvSpPr txBox="1"/>
          <p:nvPr userDrawn="1"/>
        </p:nvSpPr>
        <p:spPr>
          <a:xfrm>
            <a:off x="3106044" y="7725646"/>
            <a:ext cx="775853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45 / 130 / 32</a:t>
            </a:r>
            <a:endParaRPr lang="de-DE" sz="1000" dirty="0"/>
          </a:p>
        </p:txBody>
      </p:sp>
      <p:sp>
        <p:nvSpPr>
          <p:cNvPr id="29" name="Textfeld 28"/>
          <p:cNvSpPr txBox="1"/>
          <p:nvPr userDrawn="1"/>
        </p:nvSpPr>
        <p:spPr>
          <a:xfrm>
            <a:off x="4203282" y="7725646"/>
            <a:ext cx="634789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8 / 63 / 82</a:t>
            </a:r>
            <a:endParaRPr lang="de-DE" sz="1000" dirty="0"/>
          </a:p>
        </p:txBody>
      </p:sp>
      <p:sp>
        <p:nvSpPr>
          <p:cNvPr id="30" name="Textfeld 29"/>
          <p:cNvSpPr txBox="1"/>
          <p:nvPr userDrawn="1"/>
        </p:nvSpPr>
        <p:spPr>
          <a:xfrm>
            <a:off x="5159456" y="7725646"/>
            <a:ext cx="846386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11 / 199 / 174</a:t>
            </a:r>
            <a:endParaRPr lang="de-DE" sz="1000" dirty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6327227" y="7725646"/>
            <a:ext cx="705321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 / 133 / 152</a:t>
            </a:r>
            <a:endParaRPr lang="de-DE" sz="1000" dirty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7353933" y="7725646"/>
            <a:ext cx="775853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7 / 193 / 205</a:t>
            </a:r>
            <a:endParaRPr lang="de-DE" sz="1000" dirty="0"/>
          </a:p>
        </p:txBody>
      </p:sp>
      <p:sp>
        <p:nvSpPr>
          <p:cNvPr id="33" name="Textfeld 32"/>
          <p:cNvSpPr txBox="1"/>
          <p:nvPr userDrawn="1"/>
        </p:nvSpPr>
        <p:spPr>
          <a:xfrm>
            <a:off x="8354989" y="7725646"/>
            <a:ext cx="775853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78 / 210 / 53</a:t>
            </a:r>
            <a:endParaRPr lang="de-DE" sz="1000" dirty="0"/>
          </a:p>
        </p:txBody>
      </p:sp>
      <p:sp>
        <p:nvSpPr>
          <p:cNvPr id="35" name="Textfeld 34"/>
          <p:cNvSpPr txBox="1"/>
          <p:nvPr userDrawn="1"/>
        </p:nvSpPr>
        <p:spPr>
          <a:xfrm>
            <a:off x="9413755" y="7725646"/>
            <a:ext cx="775853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53 / 185 / 19</a:t>
            </a:r>
            <a:endParaRPr lang="de-DE" sz="1000" dirty="0"/>
          </a:p>
        </p:txBody>
      </p:sp>
      <p:sp>
        <p:nvSpPr>
          <p:cNvPr id="36" name="Textfeld 35"/>
          <p:cNvSpPr txBox="1"/>
          <p:nvPr userDrawn="1"/>
        </p:nvSpPr>
        <p:spPr>
          <a:xfrm>
            <a:off x="10543051" y="7725646"/>
            <a:ext cx="634789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87 / 0 / 86</a:t>
            </a:r>
            <a:endParaRPr lang="de-DE" sz="1000" dirty="0"/>
          </a:p>
        </p:txBody>
      </p:sp>
      <p:sp>
        <p:nvSpPr>
          <p:cNvPr id="37" name="Textfeld 36"/>
          <p:cNvSpPr txBox="1"/>
          <p:nvPr userDrawn="1"/>
        </p:nvSpPr>
        <p:spPr>
          <a:xfrm>
            <a:off x="11601817" y="7725646"/>
            <a:ext cx="705321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24 / 21 / 77</a:t>
            </a:r>
            <a:endParaRPr lang="de-DE" sz="1000" dirty="0"/>
          </a:p>
        </p:txBody>
      </p:sp>
      <p:sp>
        <p:nvSpPr>
          <p:cNvPr id="38" name="Textfeld 37"/>
          <p:cNvSpPr txBox="1"/>
          <p:nvPr userDrawn="1"/>
        </p:nvSpPr>
        <p:spPr>
          <a:xfrm>
            <a:off x="-115139" y="7976796"/>
            <a:ext cx="480901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179c7d</a:t>
            </a:r>
            <a:endParaRPr lang="de-DE" sz="1000" dirty="0"/>
          </a:p>
        </p:txBody>
      </p:sp>
      <p:sp>
        <p:nvSpPr>
          <p:cNvPr id="39" name="Textfeld 38"/>
          <p:cNvSpPr txBox="1"/>
          <p:nvPr userDrawn="1"/>
        </p:nvSpPr>
        <p:spPr>
          <a:xfrm>
            <a:off x="982099" y="7976796"/>
            <a:ext cx="466474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005b7f</a:t>
            </a:r>
            <a:endParaRPr lang="de-DE" sz="1000" dirty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1938273" y="7976796"/>
            <a:ext cx="474489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a6bbc8</a:t>
            </a:r>
            <a:endParaRPr lang="de-DE" sz="1000" dirty="0"/>
          </a:p>
        </p:txBody>
      </p:sp>
      <p:sp>
        <p:nvSpPr>
          <p:cNvPr id="41" name="Textfeld 40"/>
          <p:cNvSpPr txBox="1"/>
          <p:nvPr userDrawn="1"/>
        </p:nvSpPr>
        <p:spPr>
          <a:xfrm>
            <a:off x="3106044" y="7976796"/>
            <a:ext cx="466474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f58220</a:t>
            </a:r>
            <a:endParaRPr lang="de-DE" sz="1000" dirty="0"/>
          </a:p>
        </p:txBody>
      </p:sp>
      <p:sp>
        <p:nvSpPr>
          <p:cNvPr id="43" name="Textfeld 42"/>
          <p:cNvSpPr txBox="1"/>
          <p:nvPr userDrawn="1"/>
        </p:nvSpPr>
        <p:spPr>
          <a:xfrm>
            <a:off x="4203282" y="7976796"/>
            <a:ext cx="45365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1c3f52</a:t>
            </a:r>
            <a:endParaRPr lang="de-DE" sz="1000" dirty="0"/>
          </a:p>
        </p:txBody>
      </p:sp>
      <p:sp>
        <p:nvSpPr>
          <p:cNvPr id="45" name="Textfeld 44"/>
          <p:cNvSpPr txBox="1"/>
          <p:nvPr userDrawn="1"/>
        </p:nvSpPr>
        <p:spPr>
          <a:xfrm>
            <a:off x="5140659" y="7976796"/>
            <a:ext cx="468077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d3c7ae</a:t>
            </a:r>
            <a:endParaRPr lang="de-DE" sz="1000" dirty="0"/>
          </a:p>
        </p:txBody>
      </p:sp>
      <p:sp>
        <p:nvSpPr>
          <p:cNvPr id="46" name="Textfeld 45"/>
          <p:cNvSpPr txBox="1"/>
          <p:nvPr userDrawn="1"/>
        </p:nvSpPr>
        <p:spPr>
          <a:xfrm>
            <a:off x="6295166" y="7976796"/>
            <a:ext cx="493725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008598</a:t>
            </a:r>
            <a:endParaRPr lang="de-DE" sz="1000" dirty="0"/>
          </a:p>
        </p:txBody>
      </p:sp>
      <p:sp>
        <p:nvSpPr>
          <p:cNvPr id="47" name="Textfeld 46"/>
          <p:cNvSpPr txBox="1"/>
          <p:nvPr userDrawn="1"/>
        </p:nvSpPr>
        <p:spPr>
          <a:xfrm>
            <a:off x="7353932" y="7976796"/>
            <a:ext cx="468077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39c1cd</a:t>
            </a:r>
            <a:endParaRPr lang="de-DE" sz="1000" dirty="0"/>
          </a:p>
        </p:txBody>
      </p:sp>
      <p:sp>
        <p:nvSpPr>
          <p:cNvPr id="48" name="Textfeld 47"/>
          <p:cNvSpPr txBox="1"/>
          <p:nvPr userDrawn="1"/>
        </p:nvSpPr>
        <p:spPr>
          <a:xfrm>
            <a:off x="8354989" y="7976796"/>
            <a:ext cx="493725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b2d235</a:t>
            </a:r>
            <a:endParaRPr lang="de-DE" sz="1000" dirty="0"/>
          </a:p>
        </p:txBody>
      </p:sp>
      <p:sp>
        <p:nvSpPr>
          <p:cNvPr id="49" name="Textfeld 48"/>
          <p:cNvSpPr txBox="1"/>
          <p:nvPr userDrawn="1"/>
        </p:nvSpPr>
        <p:spPr>
          <a:xfrm>
            <a:off x="9413755" y="7976796"/>
            <a:ext cx="466474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fdb913</a:t>
            </a:r>
            <a:endParaRPr lang="de-DE" sz="1000" dirty="0"/>
          </a:p>
        </p:txBody>
      </p:sp>
      <p:sp>
        <p:nvSpPr>
          <p:cNvPr id="50" name="Textfeld 49"/>
          <p:cNvSpPr txBox="1"/>
          <p:nvPr userDrawn="1"/>
        </p:nvSpPr>
        <p:spPr>
          <a:xfrm>
            <a:off x="10543051" y="7976796"/>
            <a:ext cx="493725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bb0056</a:t>
            </a:r>
            <a:endParaRPr lang="de-DE" sz="1000" dirty="0"/>
          </a:p>
        </p:txBody>
      </p:sp>
      <p:sp>
        <p:nvSpPr>
          <p:cNvPr id="51" name="Textfeld 50"/>
          <p:cNvSpPr txBox="1"/>
          <p:nvPr userDrawn="1"/>
        </p:nvSpPr>
        <p:spPr>
          <a:xfrm>
            <a:off x="11598374" y="7976796"/>
            <a:ext cx="480901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7c154d</a:t>
            </a:r>
            <a:endParaRPr lang="de-DE" sz="1000" dirty="0"/>
          </a:p>
        </p:txBody>
      </p:sp>
      <p:sp>
        <p:nvSpPr>
          <p:cNvPr id="52" name="Textfeld 51"/>
          <p:cNvSpPr txBox="1"/>
          <p:nvPr userDrawn="1"/>
        </p:nvSpPr>
        <p:spPr>
          <a:xfrm>
            <a:off x="-598035" y="7725646"/>
            <a:ext cx="2725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GB:</a:t>
            </a:r>
            <a:endParaRPr lang="de-DE" sz="1000" b="1" dirty="0"/>
          </a:p>
        </p:txBody>
      </p:sp>
      <p:sp>
        <p:nvSpPr>
          <p:cNvPr id="53" name="Textfeld 52"/>
          <p:cNvSpPr txBox="1"/>
          <p:nvPr userDrawn="1"/>
        </p:nvSpPr>
        <p:spPr>
          <a:xfrm>
            <a:off x="-604839" y="7976796"/>
            <a:ext cx="25648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EX:</a:t>
            </a:r>
            <a:endParaRPr lang="de-DE" sz="1000" b="1" dirty="0"/>
          </a:p>
        </p:txBody>
      </p:sp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66" r:id="rId21"/>
    <p:sldLayoutId id="2147483669" r:id="rId22"/>
    <p:sldLayoutId id="2147483670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3369122"/>
            <a:ext cx="11233150" cy="2615753"/>
          </a:xfrm>
        </p:spPr>
        <p:txBody>
          <a:bodyPr lIns="0"/>
          <a:lstStyle/>
          <a:p>
            <a:pPr lvl="0">
              <a:lnSpc>
                <a:spcPct val="110000"/>
              </a:lnSpc>
            </a:pPr>
            <a:r>
              <a:rPr lang="de-DE" sz="2400" dirty="0">
                <a:solidFill>
                  <a:prstClr val="white"/>
                </a:solidFill>
                <a:latin typeface="Frutiger LT Com 65 Bold"/>
              </a:rPr>
              <a:t>White Paper on Hydrogen in </a:t>
            </a:r>
            <a:r>
              <a:rPr lang="de-DE" sz="2400" dirty="0" err="1">
                <a:solidFill>
                  <a:prstClr val="white"/>
                </a:solidFill>
                <a:latin typeface="Frutiger LT Com 65 Bold"/>
              </a:rPr>
              <a:t>Kenya</a:t>
            </a:r>
            <a:endParaRPr lang="de-DE" sz="2400" dirty="0">
              <a:solidFill>
                <a:prstClr val="white"/>
              </a:solidFill>
              <a:latin typeface="Frutiger LT Com 65 Bold"/>
            </a:endParaRPr>
          </a:p>
          <a:p>
            <a:pPr lvl="1">
              <a:lnSpc>
                <a:spcPts val="4800"/>
              </a:lnSpc>
              <a:spcAft>
                <a:spcPts val="960"/>
              </a:spcAft>
            </a:pPr>
            <a:r>
              <a:rPr lang="de-DE" sz="6240" b="1" dirty="0">
                <a:solidFill>
                  <a:prstClr val="white"/>
                </a:solidFill>
              </a:rPr>
              <a:t>—</a:t>
            </a:r>
          </a:p>
          <a:p>
            <a:pPr lvl="2">
              <a:lnSpc>
                <a:spcPct val="100000"/>
              </a:lnSpc>
            </a:pPr>
            <a:r>
              <a:rPr lang="de-DE" sz="4800" dirty="0" err="1">
                <a:solidFill>
                  <a:prstClr val="white"/>
                </a:solidFill>
                <a:latin typeface="Frutiger LT Com 45 Light"/>
              </a:rPr>
              <a:t>Calculation</a:t>
            </a:r>
            <a:r>
              <a:rPr lang="de-DE" sz="4800" dirty="0">
                <a:solidFill>
                  <a:prstClr val="white"/>
                </a:solidFill>
                <a:latin typeface="Frutiger LT Com 45 Light"/>
              </a:rPr>
              <a:t> </a:t>
            </a:r>
            <a:r>
              <a:rPr lang="de-DE" sz="4800" dirty="0" err="1">
                <a:solidFill>
                  <a:prstClr val="white"/>
                </a:solidFill>
                <a:latin typeface="Frutiger LT Com 45 Light"/>
              </a:rPr>
              <a:t>results</a:t>
            </a:r>
            <a:endParaRPr lang="de-DE" sz="4800" dirty="0">
              <a:solidFill>
                <a:prstClr val="white"/>
              </a:solidFill>
              <a:latin typeface="Frutiger LT Com 45 Light"/>
            </a:endParaRPr>
          </a:p>
        </p:txBody>
      </p:sp>
      <p:pic>
        <p:nvPicPr>
          <p:cNvPr id="4" name="iee_rgb_modul">
            <a:extLst>
              <a:ext uri="{FF2B5EF4-FFF2-40B4-BE49-F238E27FC236}">
                <a16:creationId xmlns:a16="http://schemas.microsoft.com/office/drawing/2014/main" id="{D250AF56-F2AA-4E34-8A6A-A97FFFA6CF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BFEA720-F806-488E-9996-42D27D0CC79E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1695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297933-F45C-7208-A95B-71E548B00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ults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78EE8B3-781C-D97A-E57A-CD3B8710E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D1517-CBD5-4AC8-BC55-E5920B426FB7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2EAD22-7976-97CD-22E7-48D0F53A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A2482FD-30DB-CD20-A0E2-2DA763D1A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9BA755-4938-94ED-B4C5-1EE82B870C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newable installation</a:t>
            </a:r>
          </a:p>
        </p:txBody>
      </p:sp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3BEBC1B3-D5F9-3A24-AAE3-13BAEFC68B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65004"/>
              </p:ext>
            </p:extLst>
          </p:nvPr>
        </p:nvGraphicFramePr>
        <p:xfrm>
          <a:off x="482670" y="3482112"/>
          <a:ext cx="4000986" cy="184912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67236">
                  <a:extLst>
                    <a:ext uri="{9D8B030D-6E8A-4147-A177-3AD203B41FA5}">
                      <a16:colId xmlns:a16="http://schemas.microsoft.com/office/drawing/2014/main" val="2843366044"/>
                    </a:ext>
                  </a:extLst>
                </a:gridCol>
                <a:gridCol w="1090041">
                  <a:extLst>
                    <a:ext uri="{9D8B030D-6E8A-4147-A177-3AD203B41FA5}">
                      <a16:colId xmlns:a16="http://schemas.microsoft.com/office/drawing/2014/main" val="1347859771"/>
                    </a:ext>
                  </a:extLst>
                </a:gridCol>
                <a:gridCol w="1043709">
                  <a:extLst>
                    <a:ext uri="{9D8B030D-6E8A-4147-A177-3AD203B41FA5}">
                      <a16:colId xmlns:a16="http://schemas.microsoft.com/office/drawing/2014/main" val="1787666609"/>
                    </a:ext>
                  </a:extLst>
                </a:gridCol>
              </a:tblGrid>
              <a:tr h="2499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>
                          <a:solidFill>
                            <a:schemeClr val="accent1"/>
                          </a:solidFill>
                        </a:rPr>
                        <a:t>Wind CF</a:t>
                      </a:r>
                      <a:endParaRPr lang="en-US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>
                          <a:solidFill>
                            <a:schemeClr val="accent2"/>
                          </a:solidFill>
                        </a:rPr>
                        <a:t>PV CF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1143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Kisumu</a:t>
                      </a:r>
                      <a:endParaRPr lang="en-US" sz="1800" b="1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>
                          <a:solidFill>
                            <a:schemeClr val="accent2"/>
                          </a:solidFill>
                        </a:rPr>
                        <a:t>12.04%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>
                          <a:solidFill>
                            <a:schemeClr val="accent2"/>
                          </a:solidFill>
                        </a:rPr>
                        <a:t>19.77%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41910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Mombasa</a:t>
                      </a:r>
                      <a:endParaRPr lang="en-US" sz="18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>
                          <a:solidFill>
                            <a:schemeClr val="accent1"/>
                          </a:solidFill>
                        </a:rPr>
                        <a:t>40.40%</a:t>
                      </a:r>
                      <a:endParaRPr lang="en-US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>
                          <a:solidFill>
                            <a:schemeClr val="accent1"/>
                          </a:solidFill>
                        </a:rPr>
                        <a:t>17.16%</a:t>
                      </a:r>
                      <a:endParaRPr lang="en-US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36403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urkana</a:t>
                      </a:r>
                      <a:r>
                        <a:rPr lang="de-DE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entral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41.70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21.10%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7688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urkana</a:t>
                      </a:r>
                      <a:r>
                        <a:rPr lang="de-DE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8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uth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60.27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20.23%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9927016"/>
                  </a:ext>
                </a:extLst>
              </a:tr>
            </a:tbl>
          </a:graphicData>
        </a:graphic>
      </p:graphicFrame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B7ED5E0A-4F2D-F6AF-1130-8FF70CB253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7994894"/>
              </p:ext>
            </p:extLst>
          </p:nvPr>
        </p:nvGraphicFramePr>
        <p:xfrm>
          <a:off x="5052291" y="1700214"/>
          <a:ext cx="6657039" cy="4284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569410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297933-F45C-7208-A95B-71E548B00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utlook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78EE8B3-781C-D97A-E57A-CD3B8710E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D1517-CBD5-4AC8-BC55-E5920B426FB7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2EAD22-7976-97CD-22E7-48D0F53A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A2482FD-30DB-CD20-A0E2-2DA763D1A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9BA755-4938-94ED-B4C5-1EE82B870C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ext </a:t>
            </a:r>
            <a:r>
              <a:rPr lang="de-DE" dirty="0" err="1">
                <a:sym typeface="Wingdings" panose="05000000000000000000" pitchFamily="2" charset="2"/>
              </a:rPr>
              <a:t>steps</a:t>
            </a:r>
            <a:endParaRPr lang="en-US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6EF4529B-18E5-6577-391C-74EFD0DB21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45054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eference </a:t>
            </a:r>
            <a:r>
              <a:rPr lang="de-DE" dirty="0" err="1"/>
              <a:t>year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heck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a </a:t>
            </a:r>
            <a:r>
              <a:rPr lang="de-DE" dirty="0" err="1"/>
              <a:t>year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onsidered</a:t>
            </a:r>
            <a:r>
              <a:rPr lang="de-DE" dirty="0"/>
              <a:t> </a:t>
            </a:r>
            <a:r>
              <a:rPr lang="de-DE" dirty="0" err="1"/>
              <a:t>representativ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pective</a:t>
            </a:r>
            <a:r>
              <a:rPr lang="de-DE" dirty="0"/>
              <a:t> RE </a:t>
            </a:r>
            <a:r>
              <a:rPr lang="de-DE" dirty="0" err="1"/>
              <a:t>site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„Transpor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lectrons</a:t>
            </a:r>
            <a:r>
              <a:rPr lang="de-DE" dirty="0"/>
              <a:t>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 dirty="0" err="1"/>
              <a:t>transpor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olecules</a:t>
            </a:r>
            <a:r>
              <a:rPr lang="de-DE" dirty="0"/>
              <a:t>“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halleng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t-up</a:t>
            </a:r>
            <a:r>
              <a:rPr lang="de-DE" dirty="0"/>
              <a:t> fot </a:t>
            </a:r>
            <a:r>
              <a:rPr lang="de-DE" dirty="0" err="1"/>
              <a:t>the</a:t>
            </a:r>
            <a:r>
              <a:rPr lang="de-DE" dirty="0"/>
              <a:t> 100 MW </a:t>
            </a:r>
            <a:r>
              <a:rPr lang="de-DE" dirty="0" err="1"/>
              <a:t>scenario</a:t>
            </a:r>
            <a:r>
              <a:rPr lang="de-DE" dirty="0"/>
              <a:t> in </a:t>
            </a:r>
            <a:r>
              <a:rPr lang="de-DE" dirty="0" err="1"/>
              <a:t>Turkana</a:t>
            </a:r>
            <a:r>
              <a:rPr lang="de-DE" dirty="0"/>
              <a:t> South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ompar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nspor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lectricit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nspor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final </a:t>
            </a:r>
            <a:r>
              <a:rPr lang="de-DE" dirty="0" err="1"/>
              <a:t>product</a:t>
            </a:r>
            <a:endParaRPr lang="de-DE" dirty="0"/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de-DE" dirty="0"/>
              <a:t>Option 1: PtX </a:t>
            </a:r>
            <a:r>
              <a:rPr lang="de-DE" dirty="0" err="1"/>
              <a:t>production</a:t>
            </a:r>
            <a:r>
              <a:rPr lang="de-DE" dirty="0"/>
              <a:t> in Nairobi, </a:t>
            </a:r>
            <a:r>
              <a:rPr lang="de-DE" dirty="0" err="1"/>
              <a:t>electricity</a:t>
            </a:r>
            <a:r>
              <a:rPr lang="de-DE" dirty="0"/>
              <a:t> </a:t>
            </a:r>
            <a:r>
              <a:rPr lang="de-DE" dirty="0" err="1"/>
              <a:t>transmission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RE </a:t>
            </a:r>
            <a:r>
              <a:rPr lang="de-DE" dirty="0" err="1"/>
              <a:t>sit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PtX </a:t>
            </a:r>
            <a:r>
              <a:rPr lang="de-DE" dirty="0" err="1"/>
              <a:t>production</a:t>
            </a:r>
            <a:r>
              <a:rPr lang="de-DE" dirty="0"/>
              <a:t> </a:t>
            </a:r>
            <a:r>
              <a:rPr lang="de-DE" dirty="0" err="1"/>
              <a:t>site</a:t>
            </a:r>
            <a:r>
              <a:rPr lang="de-DE" dirty="0"/>
              <a:t> (~ 440 km)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de-DE" dirty="0"/>
              <a:t>Option 2; PtX </a:t>
            </a:r>
            <a:r>
              <a:rPr lang="de-DE" dirty="0" err="1"/>
              <a:t>production</a:t>
            </a:r>
            <a:r>
              <a:rPr lang="de-DE" dirty="0"/>
              <a:t> </a:t>
            </a:r>
            <a:r>
              <a:rPr lang="de-DE" dirty="0" err="1"/>
              <a:t>near</a:t>
            </a:r>
            <a:r>
              <a:rPr lang="de-DE" dirty="0"/>
              <a:t> RE </a:t>
            </a:r>
            <a:r>
              <a:rPr lang="de-DE" dirty="0" err="1"/>
              <a:t>site</a:t>
            </a:r>
            <a:r>
              <a:rPr lang="de-DE" dirty="0"/>
              <a:t>, </a:t>
            </a:r>
            <a:r>
              <a:rPr lang="de-DE" dirty="0" err="1"/>
              <a:t>transpor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mmonia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Nairobi </a:t>
            </a:r>
          </a:p>
        </p:txBody>
      </p:sp>
    </p:spTree>
    <p:extLst>
      <p:ext uri="{BB962C8B-B14F-4D97-AF65-F5344CB8AC3E}">
        <p14:creationId xmlns:p14="http://schemas.microsoft.com/office/powerpoint/2010/main" val="3257196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297933-F45C-7208-A95B-71E548B00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ssumptions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78EE8B3-781C-D97A-E57A-CD3B8710E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D1517-CBD5-4AC8-BC55-E5920B426FB7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2EAD22-7976-97CD-22E7-48D0F53A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A2482FD-30DB-CD20-A0E2-2DA763D1A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9BA755-4938-94ED-B4C5-1EE82B870C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Renewable</a:t>
            </a:r>
            <a:r>
              <a:rPr lang="de-DE" dirty="0"/>
              <a:t> </a:t>
            </a:r>
            <a:r>
              <a:rPr lang="de-DE" dirty="0" err="1"/>
              <a:t>electricity</a:t>
            </a:r>
            <a:r>
              <a:rPr lang="de-DE" dirty="0"/>
              <a:t> </a:t>
            </a:r>
            <a:r>
              <a:rPr lang="de-DE" dirty="0" err="1"/>
              <a:t>generation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highlight>
                  <a:srgbClr val="FFFF00"/>
                </a:highlight>
                <a:sym typeface="Wingdings" panose="05000000000000000000" pitchFamily="2" charset="2"/>
              </a:rPr>
              <a:t>reference</a:t>
            </a:r>
            <a:r>
              <a:rPr lang="de-DE" dirty="0">
                <a:highlight>
                  <a:srgbClr val="FFFF00"/>
                </a:highlight>
                <a:sym typeface="Wingdings" panose="05000000000000000000" pitchFamily="2" charset="2"/>
              </a:rPr>
              <a:t> </a:t>
            </a:r>
            <a:r>
              <a:rPr lang="de-DE" dirty="0" err="1">
                <a:highlight>
                  <a:srgbClr val="FFFF00"/>
                </a:highlight>
                <a:sym typeface="Wingdings" panose="05000000000000000000" pitchFamily="2" charset="2"/>
              </a:rPr>
              <a:t>year</a:t>
            </a:r>
            <a:r>
              <a:rPr lang="de-DE" dirty="0">
                <a:highlight>
                  <a:srgbClr val="FFFF00"/>
                </a:highlight>
                <a:sym typeface="Wingdings" panose="05000000000000000000" pitchFamily="2" charset="2"/>
              </a:rPr>
              <a:t> </a:t>
            </a:r>
            <a:r>
              <a:rPr lang="de-DE" dirty="0" err="1">
                <a:highlight>
                  <a:srgbClr val="FFFF00"/>
                </a:highlight>
                <a:sym typeface="Wingdings" panose="05000000000000000000" pitchFamily="2" charset="2"/>
              </a:rPr>
              <a:t>to</a:t>
            </a:r>
            <a:r>
              <a:rPr lang="de-DE" dirty="0">
                <a:highlight>
                  <a:srgbClr val="FFFF00"/>
                </a:highlight>
                <a:sym typeface="Wingdings" panose="05000000000000000000" pitchFamily="2" charset="2"/>
              </a:rPr>
              <a:t> </a:t>
            </a:r>
            <a:r>
              <a:rPr lang="de-DE" dirty="0" err="1">
                <a:highlight>
                  <a:srgbClr val="FFFF00"/>
                </a:highlight>
                <a:sym typeface="Wingdings" panose="05000000000000000000" pitchFamily="2" charset="2"/>
              </a:rPr>
              <a:t>be</a:t>
            </a:r>
            <a:r>
              <a:rPr lang="de-DE" dirty="0">
                <a:highlight>
                  <a:srgbClr val="FFFF00"/>
                </a:highlight>
                <a:sym typeface="Wingdings" panose="05000000000000000000" pitchFamily="2" charset="2"/>
              </a:rPr>
              <a:t> </a:t>
            </a:r>
            <a:r>
              <a:rPr lang="de-DE" dirty="0" err="1">
                <a:highlight>
                  <a:srgbClr val="FFFF00"/>
                </a:highlight>
                <a:sym typeface="Wingdings" panose="05000000000000000000" pitchFamily="2" charset="2"/>
              </a:rPr>
              <a:t>checked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50DE2B-9AF7-C03E-0141-937218F96F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700213"/>
            <a:ext cx="2777749" cy="975011"/>
          </a:xfrm>
        </p:spPr>
        <p:txBody>
          <a:bodyPr/>
          <a:lstStyle/>
          <a:p>
            <a:r>
              <a:rPr lang="de-DE" dirty="0" err="1"/>
              <a:t>Turkana</a:t>
            </a:r>
            <a:r>
              <a:rPr lang="de-DE" dirty="0"/>
              <a:t> </a:t>
            </a:r>
            <a:r>
              <a:rPr lang="de-DE" dirty="0" err="1"/>
              <a:t>central</a:t>
            </a:r>
            <a:r>
              <a:rPr lang="de-DE" dirty="0"/>
              <a:t> (Hybrid)</a:t>
            </a:r>
          </a:p>
          <a:p>
            <a:pPr lvl="1"/>
            <a:r>
              <a:rPr lang="de-DE" dirty="0"/>
              <a:t>Wind:	41.70 % </a:t>
            </a:r>
            <a:r>
              <a:rPr lang="de-DE" dirty="0" err="1"/>
              <a:t>capacity</a:t>
            </a:r>
            <a:r>
              <a:rPr lang="de-DE" dirty="0"/>
              <a:t> </a:t>
            </a:r>
            <a:r>
              <a:rPr lang="de-DE" dirty="0" err="1"/>
              <a:t>factor</a:t>
            </a:r>
            <a:br>
              <a:rPr lang="en-US" dirty="0"/>
            </a:br>
            <a:r>
              <a:rPr lang="en-US" dirty="0"/>
              <a:t>PV:	21.10 % capacity facto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89C59DF-7302-2C1B-9132-D0068132AB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9817" y="1440816"/>
            <a:ext cx="3991532" cy="4544059"/>
          </a:xfrm>
          <a:prstGeom prst="rect">
            <a:avLst/>
          </a:prstGeom>
        </p:spPr>
      </p:pic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0977265-4F5E-0BDF-9F9F-128564FD26C2}"/>
              </a:ext>
            </a:extLst>
          </p:cNvPr>
          <p:cNvSpPr txBox="1">
            <a:spLocks/>
          </p:cNvSpPr>
          <p:nvPr/>
        </p:nvSpPr>
        <p:spPr bwMode="gray">
          <a:xfrm>
            <a:off x="479425" y="2751095"/>
            <a:ext cx="2777749" cy="9750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Turkana</a:t>
            </a:r>
            <a:r>
              <a:rPr lang="de-DE" dirty="0"/>
              <a:t> </a:t>
            </a:r>
            <a:r>
              <a:rPr lang="de-DE" dirty="0" err="1"/>
              <a:t>south</a:t>
            </a:r>
            <a:r>
              <a:rPr lang="de-DE" dirty="0"/>
              <a:t> (Hybrid)</a:t>
            </a:r>
          </a:p>
          <a:p>
            <a:pPr lvl="1"/>
            <a:r>
              <a:rPr lang="de-DE" dirty="0"/>
              <a:t>Wind:	60.27 % </a:t>
            </a:r>
            <a:r>
              <a:rPr lang="de-DE" dirty="0" err="1"/>
              <a:t>capacity</a:t>
            </a:r>
            <a:r>
              <a:rPr lang="de-DE" dirty="0"/>
              <a:t> </a:t>
            </a:r>
            <a:r>
              <a:rPr lang="de-DE" dirty="0" err="1"/>
              <a:t>factor</a:t>
            </a:r>
            <a:br>
              <a:rPr lang="en-US" dirty="0"/>
            </a:br>
            <a:r>
              <a:rPr lang="en-US" dirty="0"/>
              <a:t>PV:	20.23 % capacity factor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9CA3B2BF-869F-634B-5F39-61B4D31BFF23}"/>
              </a:ext>
            </a:extLst>
          </p:cNvPr>
          <p:cNvSpPr txBox="1">
            <a:spLocks/>
          </p:cNvSpPr>
          <p:nvPr/>
        </p:nvSpPr>
        <p:spPr bwMode="gray">
          <a:xfrm>
            <a:off x="479425" y="3799815"/>
            <a:ext cx="2777749" cy="9750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isumu (PV)</a:t>
            </a:r>
          </a:p>
          <a:p>
            <a:pPr lvl="1"/>
            <a:r>
              <a:rPr lang="de-DE" dirty="0"/>
              <a:t>Wind:	12.04 % </a:t>
            </a:r>
            <a:r>
              <a:rPr lang="de-DE" dirty="0" err="1"/>
              <a:t>capacity</a:t>
            </a:r>
            <a:r>
              <a:rPr lang="de-DE" dirty="0"/>
              <a:t> </a:t>
            </a:r>
            <a:r>
              <a:rPr lang="de-DE" dirty="0" err="1"/>
              <a:t>factor</a:t>
            </a:r>
            <a:br>
              <a:rPr lang="en-US" dirty="0"/>
            </a:br>
            <a:r>
              <a:rPr lang="en-US" dirty="0"/>
              <a:t>PV:	19.77 % capacity factor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C04DDDD-89DA-EA59-2B6F-3FCBECC0FC6F}"/>
              </a:ext>
            </a:extLst>
          </p:cNvPr>
          <p:cNvSpPr txBox="1">
            <a:spLocks/>
          </p:cNvSpPr>
          <p:nvPr/>
        </p:nvSpPr>
        <p:spPr bwMode="gray">
          <a:xfrm>
            <a:off x="479425" y="4848535"/>
            <a:ext cx="2777749" cy="9750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ombasa (Wind)</a:t>
            </a:r>
          </a:p>
          <a:p>
            <a:pPr lvl="1"/>
            <a:r>
              <a:rPr lang="de-DE" dirty="0"/>
              <a:t>Wind:	40.40 % </a:t>
            </a:r>
            <a:r>
              <a:rPr lang="de-DE" dirty="0" err="1"/>
              <a:t>capacity</a:t>
            </a:r>
            <a:r>
              <a:rPr lang="de-DE" dirty="0"/>
              <a:t> </a:t>
            </a:r>
            <a:r>
              <a:rPr lang="de-DE" dirty="0" err="1"/>
              <a:t>factor</a:t>
            </a:r>
            <a:br>
              <a:rPr lang="en-US" dirty="0"/>
            </a:br>
            <a:r>
              <a:rPr lang="en-US" dirty="0"/>
              <a:t>PV:	17.61 % capacity factor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EE703A0-0139-2E4A-3F77-31AC339CA0C6}"/>
              </a:ext>
            </a:extLst>
          </p:cNvPr>
          <p:cNvCxnSpPr>
            <a:cxnSpLocks/>
          </p:cNvCxnSpPr>
          <p:nvPr/>
        </p:nvCxnSpPr>
        <p:spPr>
          <a:xfrm flipH="1" flipV="1">
            <a:off x="2886915" y="1827041"/>
            <a:ext cx="5573421" cy="9576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C8B84B59-D7E9-DC9E-E9D5-0411B5BE5935}"/>
              </a:ext>
            </a:extLst>
          </p:cNvPr>
          <p:cNvCxnSpPr>
            <a:cxnSpLocks/>
          </p:cNvCxnSpPr>
          <p:nvPr/>
        </p:nvCxnSpPr>
        <p:spPr>
          <a:xfrm flipH="1">
            <a:off x="2785929" y="2677386"/>
            <a:ext cx="6148899" cy="18392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5FBBDD3-5237-8A5A-5D75-39670C9BA68D}"/>
              </a:ext>
            </a:extLst>
          </p:cNvPr>
          <p:cNvCxnSpPr>
            <a:cxnSpLocks/>
          </p:cNvCxnSpPr>
          <p:nvPr/>
        </p:nvCxnSpPr>
        <p:spPr>
          <a:xfrm flipH="1">
            <a:off x="1868299" y="3868729"/>
            <a:ext cx="6002378" cy="43065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44E30012-5518-3EA3-DA89-29B76DAD2D18}"/>
              </a:ext>
            </a:extLst>
          </p:cNvPr>
          <p:cNvCxnSpPr>
            <a:cxnSpLocks/>
          </p:cNvCxnSpPr>
          <p:nvPr/>
        </p:nvCxnSpPr>
        <p:spPr>
          <a:xfrm flipH="1" flipV="1">
            <a:off x="2230452" y="5007836"/>
            <a:ext cx="8289421" cy="328205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378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297933-F45C-7208-A95B-71E548B00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ssumptions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78EE8B3-781C-D97A-E57A-CD3B8710E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D1517-CBD5-4AC8-BC55-E5920B426FB7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2EAD22-7976-97CD-22E7-48D0F53A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A2482FD-30DB-CD20-A0E2-2DA763D1A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9BA755-4938-94ED-B4C5-1EE82B870C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echno-economic parameters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A25E837F-CA26-F840-02C4-612244FDCE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180854"/>
              </p:ext>
            </p:extLst>
          </p:nvPr>
        </p:nvGraphicFramePr>
        <p:xfrm>
          <a:off x="479425" y="1835932"/>
          <a:ext cx="11233151" cy="365227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666170">
                  <a:extLst>
                    <a:ext uri="{9D8B030D-6E8A-4147-A177-3AD203B41FA5}">
                      <a16:colId xmlns:a16="http://schemas.microsoft.com/office/drawing/2014/main" val="902973383"/>
                    </a:ext>
                  </a:extLst>
                </a:gridCol>
                <a:gridCol w="568634">
                  <a:extLst>
                    <a:ext uri="{9D8B030D-6E8A-4147-A177-3AD203B41FA5}">
                      <a16:colId xmlns:a16="http://schemas.microsoft.com/office/drawing/2014/main" val="2440886533"/>
                    </a:ext>
                  </a:extLst>
                </a:gridCol>
                <a:gridCol w="430088">
                  <a:extLst>
                    <a:ext uri="{9D8B030D-6E8A-4147-A177-3AD203B41FA5}">
                      <a16:colId xmlns:a16="http://schemas.microsoft.com/office/drawing/2014/main" val="3471560631"/>
                    </a:ext>
                  </a:extLst>
                </a:gridCol>
                <a:gridCol w="1339231">
                  <a:extLst>
                    <a:ext uri="{9D8B030D-6E8A-4147-A177-3AD203B41FA5}">
                      <a16:colId xmlns:a16="http://schemas.microsoft.com/office/drawing/2014/main" val="3648373948"/>
                    </a:ext>
                  </a:extLst>
                </a:gridCol>
                <a:gridCol w="1136451">
                  <a:extLst>
                    <a:ext uri="{9D8B030D-6E8A-4147-A177-3AD203B41FA5}">
                      <a16:colId xmlns:a16="http://schemas.microsoft.com/office/drawing/2014/main" val="2896501547"/>
                    </a:ext>
                  </a:extLst>
                </a:gridCol>
                <a:gridCol w="499169">
                  <a:extLst>
                    <a:ext uri="{9D8B030D-6E8A-4147-A177-3AD203B41FA5}">
                      <a16:colId xmlns:a16="http://schemas.microsoft.com/office/drawing/2014/main" val="3383405347"/>
                    </a:ext>
                  </a:extLst>
                </a:gridCol>
                <a:gridCol w="1056586">
                  <a:extLst>
                    <a:ext uri="{9D8B030D-6E8A-4147-A177-3AD203B41FA5}">
                      <a16:colId xmlns:a16="http://schemas.microsoft.com/office/drawing/2014/main" val="3597381367"/>
                    </a:ext>
                  </a:extLst>
                </a:gridCol>
                <a:gridCol w="603910">
                  <a:extLst>
                    <a:ext uri="{9D8B030D-6E8A-4147-A177-3AD203B41FA5}">
                      <a16:colId xmlns:a16="http://schemas.microsoft.com/office/drawing/2014/main" val="660664947"/>
                    </a:ext>
                  </a:extLst>
                </a:gridCol>
                <a:gridCol w="930525">
                  <a:extLst>
                    <a:ext uri="{9D8B030D-6E8A-4147-A177-3AD203B41FA5}">
                      <a16:colId xmlns:a16="http://schemas.microsoft.com/office/drawing/2014/main" val="1493171825"/>
                    </a:ext>
                  </a:extLst>
                </a:gridCol>
                <a:gridCol w="664983">
                  <a:extLst>
                    <a:ext uri="{9D8B030D-6E8A-4147-A177-3AD203B41FA5}">
                      <a16:colId xmlns:a16="http://schemas.microsoft.com/office/drawing/2014/main" val="366951973"/>
                    </a:ext>
                  </a:extLst>
                </a:gridCol>
                <a:gridCol w="585550">
                  <a:extLst>
                    <a:ext uri="{9D8B030D-6E8A-4147-A177-3AD203B41FA5}">
                      <a16:colId xmlns:a16="http://schemas.microsoft.com/office/drawing/2014/main" val="4163903966"/>
                    </a:ext>
                  </a:extLst>
                </a:gridCol>
                <a:gridCol w="1751854">
                  <a:extLst>
                    <a:ext uri="{9D8B030D-6E8A-4147-A177-3AD203B41FA5}">
                      <a16:colId xmlns:a16="http://schemas.microsoft.com/office/drawing/2014/main" val="391555214"/>
                    </a:ext>
                  </a:extLst>
                </a:gridCol>
              </a:tblGrid>
              <a:tr h="1087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Componen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gridSpan="2"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Scenario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CAPEX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OPEX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fetim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fficienc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098693429"/>
                  </a:ext>
                </a:extLst>
              </a:tr>
              <a:tr h="1087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Win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1,238,09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€/MW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  <a:latin typeface="+mn-lt"/>
                        </a:rPr>
                        <a:t>2.8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of CAPEX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a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078914749"/>
                  </a:ext>
                </a:extLst>
              </a:tr>
              <a:tr h="1087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PV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561,06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€/MW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  <a:latin typeface="+mn-lt"/>
                        </a:rPr>
                        <a:t>1.7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of CAPEX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a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993637804"/>
                  </a:ext>
                </a:extLst>
              </a:tr>
              <a:tr h="1087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Batter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300,00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€/MWh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1.50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of CAPEX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a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5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90181344"/>
                  </a:ext>
                </a:extLst>
              </a:tr>
              <a:tr h="108777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sta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,92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€/MW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a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.5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665739226"/>
                  </a:ext>
                </a:extLst>
              </a:tr>
              <a:tr h="108777">
                <a:tc rowSpan="3">
                  <a:txBody>
                    <a:bodyPr/>
                    <a:lstStyle/>
                    <a:p>
                      <a:pPr algn="l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wer </a:t>
                      </a:r>
                      <a:r>
                        <a:rPr lang="de-DE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n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1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 MW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,00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€/km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rowSpan="3"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 rowSpan="3"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f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APEX</a:t>
                      </a:r>
                    </a:p>
                  </a:txBody>
                  <a:tcPr marL="0" marR="0" marT="0" marB="0" anchor="ctr"/>
                </a:tc>
                <a:tc rowSpan="3"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a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 rowSpan="3"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sses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</a:t>
                      </a:r>
                      <a:b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% / 100 km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47252975"/>
                  </a:ext>
                </a:extLst>
              </a:tr>
              <a:tr h="108777">
                <a:tc v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DF1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10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DF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 MW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DF1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5,00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DF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€/km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DF1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DF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DF1F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360220903"/>
                  </a:ext>
                </a:extLst>
              </a:tr>
              <a:tr h="108777">
                <a:tc v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50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 MW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0,00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€/km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6882609"/>
                  </a:ext>
                </a:extLst>
              </a:tr>
              <a:tr h="108777">
                <a:tc rowSpan="3"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Electrolysis (PEM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1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 MW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1,500,00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 €/MW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 %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ck</a:t>
                      </a:r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har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rowSpan="3"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2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 rowSpan="3"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of CAPEX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 rowSpan="3"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,00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 rowSpan="3"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u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 rowSpan="3"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72393025"/>
                  </a:ext>
                </a:extLst>
              </a:tr>
              <a:tr h="108777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>
                    <a:solidFill>
                      <a:srgbClr val="EDF1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10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 MW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1,000,00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 €/MW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 %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ck</a:t>
                      </a:r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har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897819885"/>
                  </a:ext>
                </a:extLst>
              </a:tr>
              <a:tr h="108777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50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 MW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750,00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 €/MW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 %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ck</a:t>
                      </a:r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har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906001816"/>
                  </a:ext>
                </a:extLst>
              </a:tr>
              <a:tr h="21755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Water treatmen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  <a:latin typeface="+mn-lt"/>
                        </a:rPr>
                        <a:t>9.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 €/(tH2O/a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  <a:latin typeface="+mn-lt"/>
                        </a:rPr>
                        <a:t>4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of CAPEX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a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5 kWh/m³H2O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2366497"/>
                  </a:ext>
                </a:extLst>
              </a:tr>
              <a:tr h="21755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Hydrogen storag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Size dependen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€/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1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of CAPEX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a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417233908"/>
                  </a:ext>
                </a:extLst>
              </a:tr>
              <a:tr h="217553">
                <a:tc rowSpan="3"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NH3 synthesi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1.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 t/h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9,095,994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 €/(tNH3/h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rowSpan="3"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2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 rowSpan="3"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of CAPEX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 rowSpan="3"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a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 rowSpan="3"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4 MWh/tNH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03186176"/>
                  </a:ext>
                </a:extLst>
              </a:tr>
              <a:tr h="217553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>
                    <a:solidFill>
                      <a:srgbClr val="EDF1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11.3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DF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 t/h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DF1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4,234,968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DF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 €/(tNH3/h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DF1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DF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DF1F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49844082"/>
                  </a:ext>
                </a:extLst>
              </a:tr>
              <a:tr h="217553"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 t/h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2,481,945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 €/(tNH3/h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166774421"/>
                  </a:ext>
                </a:extLst>
              </a:tr>
              <a:tr h="21755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Air separation uni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1,450,00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€/(tN2/h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2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of CAPEX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a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 MWh/tNH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702107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0875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3212BB-0E7E-D51A-9CAA-AE7EE8EB39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41ABDC-9B86-7809-3966-4757257AF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ssumptions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A32F2AB-AA9A-7000-633A-C8EAFAF09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D1517-CBD5-4AC8-BC55-E5920B426FB7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8FF4D49-9FA5-2422-6154-6AA0493714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841B23-C796-B670-BD73-5FF7F154F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F16D53-DFBE-BA14-D62B-FC9E6B9ADA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cenarios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6E4AED7-5CBC-32CF-05F1-A7F0C4E3D6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5538902"/>
              </p:ext>
            </p:extLst>
          </p:nvPr>
        </p:nvGraphicFramePr>
        <p:xfrm>
          <a:off x="479425" y="1423887"/>
          <a:ext cx="10893143" cy="466344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903671">
                  <a:extLst>
                    <a:ext uri="{9D8B030D-6E8A-4147-A177-3AD203B41FA5}">
                      <a16:colId xmlns:a16="http://schemas.microsoft.com/office/drawing/2014/main" val="2002916928"/>
                    </a:ext>
                  </a:extLst>
                </a:gridCol>
                <a:gridCol w="1903671">
                  <a:extLst>
                    <a:ext uri="{9D8B030D-6E8A-4147-A177-3AD203B41FA5}">
                      <a16:colId xmlns:a16="http://schemas.microsoft.com/office/drawing/2014/main" val="1586606558"/>
                    </a:ext>
                  </a:extLst>
                </a:gridCol>
                <a:gridCol w="2619688">
                  <a:extLst>
                    <a:ext uri="{9D8B030D-6E8A-4147-A177-3AD203B41FA5}">
                      <a16:colId xmlns:a16="http://schemas.microsoft.com/office/drawing/2014/main" val="582138779"/>
                    </a:ext>
                  </a:extLst>
                </a:gridCol>
                <a:gridCol w="977987">
                  <a:extLst>
                    <a:ext uri="{9D8B030D-6E8A-4147-A177-3AD203B41FA5}">
                      <a16:colId xmlns:a16="http://schemas.microsoft.com/office/drawing/2014/main" val="3861600436"/>
                    </a:ext>
                  </a:extLst>
                </a:gridCol>
                <a:gridCol w="1613097">
                  <a:extLst>
                    <a:ext uri="{9D8B030D-6E8A-4147-A177-3AD203B41FA5}">
                      <a16:colId xmlns:a16="http://schemas.microsoft.com/office/drawing/2014/main" val="2070827219"/>
                    </a:ext>
                  </a:extLst>
                </a:gridCol>
                <a:gridCol w="994591">
                  <a:extLst>
                    <a:ext uri="{9D8B030D-6E8A-4147-A177-3AD203B41FA5}">
                      <a16:colId xmlns:a16="http://schemas.microsoft.com/office/drawing/2014/main" val="1803034735"/>
                    </a:ext>
                  </a:extLst>
                </a:gridCol>
                <a:gridCol w="880438">
                  <a:extLst>
                    <a:ext uri="{9D8B030D-6E8A-4147-A177-3AD203B41FA5}">
                      <a16:colId xmlns:a16="http://schemas.microsoft.com/office/drawing/2014/main" val="2740147920"/>
                    </a:ext>
                  </a:extLst>
                </a:gridCol>
              </a:tblGrid>
              <a:tr h="2151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Scenari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Transmission </a:t>
                      </a:r>
                      <a:r>
                        <a:rPr lang="de-DE" sz="1200" dirty="0" err="1"/>
                        <a:t>line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Grid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87323708"/>
                  </a:ext>
                </a:extLst>
              </a:tr>
              <a:tr h="21516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m (</a:t>
                      </a:r>
                      <a:r>
                        <a:rPr lang="de-DE" sz="12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  <a:r>
                        <a:rPr lang="de-DE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m (</a:t>
                      </a:r>
                      <a:r>
                        <a:rPr lang="de-DE" sz="12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rid</a:t>
                      </a:r>
                      <a:r>
                        <a:rPr lang="de-DE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€/MWh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5446721"/>
                  </a:ext>
                </a:extLst>
              </a:tr>
              <a:tr h="215169">
                <a:tc>
                  <a:txBody>
                    <a:bodyPr/>
                    <a:lstStyle/>
                    <a:p>
                      <a:r>
                        <a:rPr lang="de-DE" sz="1200" b="0" dirty="0"/>
                        <a:t>1a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dirty="0" err="1"/>
                        <a:t>Turkana</a:t>
                      </a:r>
                      <a:r>
                        <a:rPr lang="de-DE" sz="1200" b="1" dirty="0"/>
                        <a:t> </a:t>
                      </a:r>
                      <a:r>
                        <a:rPr lang="de-DE" sz="1200" b="1" dirty="0" err="1"/>
                        <a:t>central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10 MW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0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-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85958532"/>
                  </a:ext>
                </a:extLst>
              </a:tr>
              <a:tr h="215169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b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Wind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41.70%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100 MW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0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-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274246178"/>
                  </a:ext>
                </a:extLst>
              </a:tr>
              <a:tr h="215169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c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PV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21.10%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500 MW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7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-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966296"/>
                  </a:ext>
                </a:extLst>
              </a:tr>
              <a:tr h="215169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2a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dirty="0" err="1"/>
                        <a:t>Turkana</a:t>
                      </a:r>
                      <a:r>
                        <a:rPr lang="de-DE" sz="1200" b="1" dirty="0"/>
                        <a:t> </a:t>
                      </a:r>
                      <a:r>
                        <a:rPr lang="de-DE" sz="1200" b="1" dirty="0" err="1"/>
                        <a:t>south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10 MW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0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-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30250761"/>
                  </a:ext>
                </a:extLst>
              </a:tr>
              <a:tr h="215169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2b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Wind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60.27%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100 MW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0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-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08113863"/>
                  </a:ext>
                </a:extLst>
              </a:tr>
              <a:tr h="215169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2c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PV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20.23%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500 MW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4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31559080"/>
                  </a:ext>
                </a:extLst>
              </a:tr>
              <a:tr h="215169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2ba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sz="1200" dirty="0" err="1"/>
                        <a:t>Supplementary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supply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from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grid</a:t>
                      </a:r>
                      <a:r>
                        <a:rPr lang="de-DE" sz="1200" dirty="0"/>
                        <a:t> / geothermal PPA (</a:t>
                      </a:r>
                      <a:r>
                        <a:rPr lang="de-DE" sz="1200" dirty="0" err="1"/>
                        <a:t>auxiliaries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only</a:t>
                      </a:r>
                      <a:r>
                        <a:rPr lang="de-DE" sz="1200" dirty="0"/>
                        <a:t>)</a:t>
                      </a:r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100 MW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0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65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2902525"/>
                  </a:ext>
                </a:extLst>
              </a:tr>
              <a:tr h="215169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2bb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de-DE" sz="1200" dirty="0" err="1"/>
                        <a:t>Supplementary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supply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from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grid</a:t>
                      </a:r>
                      <a:r>
                        <a:rPr lang="de-DE" sz="1200" dirty="0"/>
                        <a:t> / geothermal PPA</a:t>
                      </a:r>
                      <a:endParaRPr lang="en-US" sz="1200" dirty="0"/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100 MW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0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65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829401"/>
                  </a:ext>
                </a:extLst>
              </a:tr>
              <a:tr h="215169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bc</a:t>
                      </a:r>
                      <a:endParaRPr lang="en-US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ransport </a:t>
                      </a:r>
                      <a:r>
                        <a:rPr lang="de-DE" sz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of</a:t>
                      </a:r>
                      <a:r>
                        <a:rPr lang="de-DE" sz="12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mmonia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00 MW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2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  <a:endParaRPr lang="en-US" sz="12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2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-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399693"/>
                  </a:ext>
                </a:extLst>
              </a:tr>
              <a:tr h="215169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a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dirty="0"/>
                        <a:t>Kisumu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10 MW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-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033241369"/>
                  </a:ext>
                </a:extLst>
              </a:tr>
              <a:tr h="215169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b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Wind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12.04%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100 MW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-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33686130"/>
                  </a:ext>
                </a:extLst>
              </a:tr>
              <a:tr h="215169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c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PV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19.77%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500 MW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-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8979900"/>
                  </a:ext>
                </a:extLst>
              </a:tr>
              <a:tr h="215169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4a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dirty="0"/>
                        <a:t>Mombasa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10 MW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-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26003875"/>
                  </a:ext>
                </a:extLst>
              </a:tr>
              <a:tr h="215169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4b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Wind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40.40%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100 MW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-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85700104"/>
                  </a:ext>
                </a:extLst>
              </a:tr>
              <a:tr h="215169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4c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PV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17.16%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500 MW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-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1626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24793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297933-F45C-7208-A95B-71E548B00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ults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78EE8B3-781C-D97A-E57A-CD3B8710E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D1517-CBD5-4AC8-BC55-E5920B426FB7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2EAD22-7976-97CD-22E7-48D0F53A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A2482FD-30DB-CD20-A0E2-2DA763D1A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9BA755-4938-94ED-B4C5-1EE82B870C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10 MW </a:t>
            </a:r>
            <a:r>
              <a:rPr lang="de-DE" dirty="0" err="1"/>
              <a:t>scenario</a:t>
            </a:r>
            <a:endParaRPr lang="en-US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43625104-2D31-3675-96EE-F5091952FD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2055791"/>
              </p:ext>
            </p:extLst>
          </p:nvPr>
        </p:nvGraphicFramePr>
        <p:xfrm>
          <a:off x="479425" y="1700213"/>
          <a:ext cx="11233150" cy="4284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308023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297933-F45C-7208-A95B-71E548B00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ults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78EE8B3-781C-D97A-E57A-CD3B8710E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D1517-CBD5-4AC8-BC55-E5920B426FB7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2EAD22-7976-97CD-22E7-48D0F53A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A2482FD-30DB-CD20-A0E2-2DA763D1A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9BA755-4938-94ED-B4C5-1EE82B870C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100 MW </a:t>
            </a:r>
            <a:r>
              <a:rPr lang="de-DE" dirty="0" err="1"/>
              <a:t>scenario</a:t>
            </a:r>
            <a:endParaRPr lang="en-US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1CAAD2A-4ED7-80CC-2662-5ED55F5C33B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4318555"/>
              </p:ext>
            </p:extLst>
          </p:nvPr>
        </p:nvGraphicFramePr>
        <p:xfrm>
          <a:off x="479425" y="1700213"/>
          <a:ext cx="11233150" cy="4284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699380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297933-F45C-7208-A95B-71E548B00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ults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78EE8B3-781C-D97A-E57A-CD3B8710E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D1517-CBD5-4AC8-BC55-E5920B426FB7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2EAD22-7976-97CD-22E7-48D0F53A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A2482FD-30DB-CD20-A0E2-2DA763D1A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9BA755-4938-94ED-B4C5-1EE82B870C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500 MW </a:t>
            </a:r>
            <a:r>
              <a:rPr lang="de-DE" dirty="0" err="1"/>
              <a:t>scenario</a:t>
            </a:r>
            <a:endParaRPr lang="en-US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2C9AD829-4CCE-C70E-7F4D-59F90D9224E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1126915"/>
              </p:ext>
            </p:extLst>
          </p:nvPr>
        </p:nvGraphicFramePr>
        <p:xfrm>
          <a:off x="479425" y="1700213"/>
          <a:ext cx="11233150" cy="4284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856417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297933-F45C-7208-A95B-71E548B00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ults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78EE8B3-781C-D97A-E57A-CD3B8710E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D1517-CBD5-4AC8-BC55-E5920B426FB7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2EAD22-7976-97CD-22E7-48D0F53A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A2482FD-30DB-CD20-A0E2-2DA763D1A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9BA755-4938-94ED-B4C5-1EE82B870C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urkana south</a:t>
            </a:r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7ED20D67-B164-F6AA-35D1-D5198127DB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22170853"/>
              </p:ext>
            </p:extLst>
          </p:nvPr>
        </p:nvGraphicFramePr>
        <p:xfrm>
          <a:off x="479425" y="1700213"/>
          <a:ext cx="11233150" cy="4284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670857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41CEFE-D8EE-8283-C856-B302D01817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D3CEBC-0AB1-ADC7-5D3E-828F22C57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ults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97D2CFB-7EA1-743C-EC0F-E324CE79EF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D1517-CBD5-4AC8-BC55-E5920B426FB7}" type="datetime1">
              <a:rPr lang="de-DE" noProof="0" smtClean="0"/>
              <a:t>11.11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19AE669-BC19-D06D-88EE-08183598EE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0C94982-C248-C6B7-8716-8F93E70666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AFE048D-FA51-E05F-982A-0ABDD189ED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urkana south grid configuration / use of geothermal energy</a:t>
            </a:r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A45A12D9-7457-4CDD-27DA-01D823DE5BB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0682361"/>
              </p:ext>
            </p:extLst>
          </p:nvPr>
        </p:nvGraphicFramePr>
        <p:xfrm>
          <a:off x="479425" y="1700213"/>
          <a:ext cx="11233150" cy="4284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6372C11C-8813-0775-9CB6-EBC5833E6CEC}"/>
              </a:ext>
            </a:extLst>
          </p:cNvPr>
          <p:cNvSpPr txBox="1"/>
          <p:nvPr/>
        </p:nvSpPr>
        <p:spPr>
          <a:xfrm>
            <a:off x="1828801" y="1381280"/>
            <a:ext cx="2177511" cy="7511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dirty="0" err="1"/>
              <a:t>Grid</a:t>
            </a:r>
            <a:r>
              <a:rPr lang="de-DE" sz="1400" dirty="0"/>
              <a:t> / geothermal </a:t>
            </a:r>
            <a:r>
              <a:rPr lang="de-DE" sz="1400" dirty="0" err="1"/>
              <a:t>energy</a:t>
            </a:r>
            <a:endParaRPr lang="de-DE" sz="1400" dirty="0"/>
          </a:p>
          <a:p>
            <a:pPr marL="180000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Power: 	0 </a:t>
            </a:r>
            <a:r>
              <a:rPr lang="de-DE" sz="1400" dirty="0" err="1"/>
              <a:t>MWp</a:t>
            </a:r>
            <a:endParaRPr lang="de-DE" sz="1400" dirty="0"/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Energy:	0 MWh/</a:t>
            </a:r>
            <a:r>
              <a:rPr lang="de-DE" sz="1400" dirty="0" err="1"/>
              <a:t>year</a:t>
            </a:r>
            <a:endParaRPr lang="en-US" sz="14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33D3453-B47D-C012-E55C-34CAD4D3943C}"/>
              </a:ext>
            </a:extLst>
          </p:cNvPr>
          <p:cNvSpPr txBox="1"/>
          <p:nvPr/>
        </p:nvSpPr>
        <p:spPr>
          <a:xfrm>
            <a:off x="4701154" y="1381279"/>
            <a:ext cx="2420317" cy="7511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dirty="0" err="1"/>
              <a:t>Grid</a:t>
            </a:r>
            <a:r>
              <a:rPr lang="de-DE" sz="1400" dirty="0"/>
              <a:t> / geothermal </a:t>
            </a:r>
            <a:r>
              <a:rPr lang="de-DE" sz="1400" dirty="0" err="1"/>
              <a:t>energy</a:t>
            </a:r>
            <a:endParaRPr lang="de-DE" sz="1400" dirty="0"/>
          </a:p>
          <a:p>
            <a:pPr marL="180000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Power: 	6.88 </a:t>
            </a:r>
            <a:r>
              <a:rPr lang="de-DE" sz="1400" dirty="0" err="1"/>
              <a:t>MWp</a:t>
            </a:r>
            <a:endParaRPr lang="de-DE" sz="1400" dirty="0"/>
          </a:p>
          <a:p>
            <a:pPr marL="180000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Energy:	1,321 MWh/</a:t>
            </a:r>
            <a:r>
              <a:rPr lang="de-DE" sz="1400" dirty="0" err="1"/>
              <a:t>year</a:t>
            </a:r>
            <a:endParaRPr lang="en-US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012BE7C-84D8-23BF-AE56-0D8452DABA32}"/>
              </a:ext>
            </a:extLst>
          </p:cNvPr>
          <p:cNvSpPr txBox="1"/>
          <p:nvPr/>
        </p:nvSpPr>
        <p:spPr>
          <a:xfrm>
            <a:off x="7573506" y="1381279"/>
            <a:ext cx="2420317" cy="7511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 err="1"/>
              <a:t>Grid</a:t>
            </a:r>
            <a:r>
              <a:rPr lang="de-DE" sz="1400" dirty="0"/>
              <a:t> / geothermal </a:t>
            </a:r>
            <a:r>
              <a:rPr lang="de-DE" sz="1400" dirty="0" err="1"/>
              <a:t>energy</a:t>
            </a:r>
            <a:endParaRPr lang="de-DE" sz="1400" dirty="0"/>
          </a:p>
          <a:p>
            <a:pPr marL="180000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Power: 	67.35 </a:t>
            </a:r>
            <a:r>
              <a:rPr lang="de-DE" sz="1400" dirty="0" err="1"/>
              <a:t>MWp</a:t>
            </a:r>
            <a:endParaRPr lang="de-DE" sz="1400" dirty="0"/>
          </a:p>
          <a:p>
            <a:pPr marL="180000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Energy:	159,876 MWh/</a:t>
            </a:r>
            <a:r>
              <a:rPr lang="de-DE" sz="1400" dirty="0" err="1"/>
              <a:t>yea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7927872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CED85CD76AF9942B75F7553F77B8F05" ma:contentTypeVersion="12" ma:contentTypeDescription="Ein neues Dokument erstellen." ma:contentTypeScope="" ma:versionID="e46dbe2bcc3249ffe22ab0a468845552">
  <xsd:schema xmlns:xsd="http://www.w3.org/2001/XMLSchema" xmlns:xs="http://www.w3.org/2001/XMLSchema" xmlns:p="http://schemas.microsoft.com/office/2006/metadata/properties" xmlns:ns2="79cdcb1f-5ff5-407e-b39c-fa9d9345b73e" xmlns:ns3="2c837c82-c036-4f91-9acd-6bc43879026f" targetNamespace="http://schemas.microsoft.com/office/2006/metadata/properties" ma:root="true" ma:fieldsID="4656bd9171e4532419ad3ac406b80115" ns2:_="" ns3:_="">
    <xsd:import namespace="79cdcb1f-5ff5-407e-b39c-fa9d9345b73e"/>
    <xsd:import namespace="2c837c82-c036-4f91-9acd-6bc4387902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cdcb1f-5ff5-407e-b39c-fa9d9345b7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837c82-c036-4f91-9acd-6bc43879026f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37CD33E-108E-419C-A6AE-D0EEFDE245CA}">
  <ds:schemaRefs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c837c82-c036-4f91-9acd-6bc43879026f"/>
    <ds:schemaRef ds:uri="http://schemas.openxmlformats.org/package/2006/metadata/core-properties"/>
    <ds:schemaRef ds:uri="79cdcb1f-5ff5-407e-b39c-fa9d9345b73e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2E0666F-7C7A-411F-93FE-8D6D25AA411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9cdcb1f-5ff5-407e-b39c-fa9d9345b73e"/>
    <ds:schemaRef ds:uri="2c837c82-c036-4f91-9acd-6bc43879026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2F57199-C91D-49FF-B763-319650D9DCA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190122_Fraunhofer_Master_16-9</Template>
  <TotalTime>0</TotalTime>
  <Words>863</Words>
  <Application>Microsoft Office PowerPoint</Application>
  <PresentationFormat>Breitbild</PresentationFormat>
  <Paragraphs>338</Paragraphs>
  <Slides>1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8" baseType="lpstr">
      <vt:lpstr>Arial</vt:lpstr>
      <vt:lpstr>Frutiger LT Com 45 Light</vt:lpstr>
      <vt:lpstr>Frutiger LT Com 65 Bold</vt:lpstr>
      <vt:lpstr>Frutiger LT Com 75 Black</vt:lpstr>
      <vt:lpstr>Wingdings</vt:lpstr>
      <vt:lpstr>Fraunhofer_Master_16-9</vt:lpstr>
      <vt:lpstr>think-cell Folie</vt:lpstr>
      <vt:lpstr>PowerPoint-Präsentation</vt:lpstr>
      <vt:lpstr>Assumptions</vt:lpstr>
      <vt:lpstr>Assumptions</vt:lpstr>
      <vt:lpstr>Assumptions</vt:lpstr>
      <vt:lpstr>Results</vt:lpstr>
      <vt:lpstr>Results</vt:lpstr>
      <vt:lpstr>Results</vt:lpstr>
      <vt:lpstr>Results</vt:lpstr>
      <vt:lpstr>Results</vt:lpstr>
      <vt:lpstr>Results</vt:lpstr>
      <vt:lpstr>Outloo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liushchanka, Maryna</dc:creator>
  <cp:lastModifiedBy>Julian Reul</cp:lastModifiedBy>
  <cp:revision>88</cp:revision>
  <dcterms:created xsi:type="dcterms:W3CDTF">2022-01-26T13:13:19Z</dcterms:created>
  <dcterms:modified xsi:type="dcterms:W3CDTF">2024-11-11T14:3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ED85CD76AF9942B75F7553F77B8F05</vt:lpwstr>
  </property>
</Properties>
</file>